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267" r:id="rId5"/>
    <p:sldId id="269" r:id="rId6"/>
    <p:sldId id="2147480825" r:id="rId7"/>
    <p:sldId id="1642" r:id="rId8"/>
    <p:sldId id="2147480770" r:id="rId9"/>
    <p:sldId id="2147480818" r:id="rId10"/>
    <p:sldId id="2147480819" r:id="rId11"/>
    <p:sldId id="2147480823" r:id="rId12"/>
    <p:sldId id="2147480822" r:id="rId13"/>
    <p:sldId id="308" r:id="rId14"/>
    <p:sldId id="2147480816" r:id="rId15"/>
    <p:sldId id="2147480803" r:id="rId16"/>
    <p:sldId id="2147480824" r:id="rId17"/>
    <p:sldId id="1334" r:id="rId18"/>
    <p:sldId id="259" r:id="rId19"/>
  </p:sldIdLst>
  <p:sldSz cx="12192000" cy="6858000"/>
  <p:notesSz cx="6858000" cy="9144000"/>
  <p:custDataLst>
    <p:tags r:id="rId2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C3CF829-6753-44E9-8876-F72C97B92C0B}">
          <p14:sldIdLst>
            <p14:sldId id="267"/>
            <p14:sldId id="269"/>
            <p14:sldId id="2147480825"/>
            <p14:sldId id="1642"/>
            <p14:sldId id="2147480770"/>
            <p14:sldId id="2147480818"/>
            <p14:sldId id="2147480819"/>
            <p14:sldId id="2147480823"/>
            <p14:sldId id="2147480822"/>
            <p14:sldId id="308"/>
            <p14:sldId id="2147480816"/>
            <p14:sldId id="2147480803"/>
            <p14:sldId id="2147480824"/>
            <p14:sldId id="1334"/>
            <p14:sldId id="2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5C6A0A-B046-6DF3-36D8-E11581C9BAA0}" name="Oscar Cruz Albor" initials="" userId="S::oscar.cruz@mystratis.com::c66e5b71-848a-4c4d-8da4-02e8c62ab2f3" providerId="AD"/>
  <p188:author id="{4958D11C-E406-D587-FE04-605C85F6C12B}" name="Javier Resendiz" initials="JR" userId="S::javier.resendiz@mystratis.com::ae3beedc-5d1b-4b9b-bb13-7ba487349259" providerId="AD"/>
  <p188:author id="{508C0C28-AB6A-03E7-0F21-11D408ACF8F6}" name="Alexis Ramirez" initials="" userId="S::alexis.ramirez@mystratis.com::a7c81f6c-ff5e-4a39-b2c7-6de722d1b62c" providerId="AD"/>
  <p188:author id="{A4AE3171-99C0-499F-AB3E-C571EC12D85F}" name="Juan  Soledad" initials="" userId="S::juan.soledad@mystratis.com::1f6d63c8-69ee-4fe5-afc8-ce961cd2d8cf" providerId="AD"/>
  <p188:author id="{B8F28D7C-64AF-0B9A-8AB8-ECA17B2A1A66}" name="Ricardo Chavez Gallo" initials="RC" userId="S::ricardo.chavez@mystratis.com::ca67f6ae-e539-4113-af7b-f94c2f4eef0f" providerId="AD"/>
  <p188:author id="{473F699A-2823-3A6C-B73B-3E2D9B050EDC}" name="Gabriela Cruz Albor" initials="" userId="S::gabriela.cruz@mystratis.com::49a62874-b770-426c-8584-009d2796c7f5" providerId="AD"/>
  <p188:author id="{A68420B1-9B8D-F913-8779-26378408DEED}" name="Claudia Castañon Perez" initials="CP" userId="S::claudia.castanon@mystratis.com::6d571616-6e18-462e-b46e-0030f7d50bc8" providerId="AD"/>
  <p188:author id="{CB27CAB5-CF90-9395-74F6-0BF0C0EE148F}" name="Alberto Oliver" initials="AO" userId="S::alberto.oliver@mystratis.com::2d06b8e8-7acd-4b5d-bcda-fba645f748d5" providerId="AD"/>
  <p188:author id="{F33C4BB9-D54D-8C87-3C4C-8A47768E768C}" name="Alfredo Sosa" initials="" userId="S::alfredo.sosa@mystratis.com::83509031-0ad5-40ad-b5b4-0a00e85eadc2" providerId="AD"/>
  <p188:author id="{AD9469DA-53C9-D84C-E5AA-450656E52BC9}" name="Fabiola Paredes" initials="FP" userId="S::fabiola.paredes@mystratis.com::a89e4ec9-c038-4d52-95f6-fd81b94af75a" providerId="AD"/>
  <p188:author id="{81A622DC-6FC4-B47B-7D8A-4DBD72A6872A}" name="Diego Enrique Islas Marure" initials="" userId="S::diego.islas@mystratis.com::42f2b6ca-5958-4a80-b4b2-d346b482c5c9" providerId="AD"/>
  <p188:author id="{1B044FE0-E620-53B3-4C53-84EB4FF99415}" name="Hugo Mata Velázquez" initials="HV" userId="S::hugo.mata@mystratis.com::dd7aa0bf-8ba2-43b1-99f6-bd63a2914b4c" providerId="AD"/>
  <p188:author id="{9B4BDBFE-7F7F-BA0E-6F08-573A9A476609}" name="Mariana Trias Arzamendi" initials="MTA" userId="S::mariana.trias@mystratis.com::f18f7556-89ca-48b7-a9ef-c274c1f9bc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6F35"/>
    <a:srgbClr val="0111A2"/>
    <a:srgbClr val="3B43FB"/>
    <a:srgbClr val="00194F"/>
    <a:srgbClr val="FBF8FA"/>
    <a:srgbClr val="FFFFFF"/>
    <a:srgbClr val="FFCCC5"/>
    <a:srgbClr val="FE3304"/>
    <a:srgbClr val="FFEAE7"/>
    <a:srgbClr val="D7D8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476FF3-7998-97CE-218E-3C31364B6757}" v="21" dt="2025-03-13T22:05:38.3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udia Castañon Perez" userId="S::claudia.castanon@mystratis.com::6d571616-6e18-462e-b46e-0030f7d50bc8" providerId="AD" clId="Web-{E33478B4-69C5-03EB-60CC-2509F9F07F1F}"/>
    <pc:docChg chg="modSld sldOrd">
      <pc:chgData name="Claudia Castañon Perez" userId="S::claudia.castanon@mystratis.com::6d571616-6e18-462e-b46e-0030f7d50bc8" providerId="AD" clId="Web-{E33478B4-69C5-03EB-60CC-2509F9F07F1F}" dt="2025-03-04T16:22:49.273" v="107"/>
      <pc:docMkLst>
        <pc:docMk/>
      </pc:docMkLst>
      <pc:sldChg chg="delSp modSp delAnim">
        <pc:chgData name="Claudia Castañon Perez" userId="S::claudia.castanon@mystratis.com::6d571616-6e18-462e-b46e-0030f7d50bc8" providerId="AD" clId="Web-{E33478B4-69C5-03EB-60CC-2509F9F07F1F}" dt="2025-03-04T15:25:25.264" v="106"/>
        <pc:sldMkLst>
          <pc:docMk/>
          <pc:sldMk cId="2108733470" sldId="2147480803"/>
        </pc:sldMkLst>
        <pc:spChg chg="mod">
          <ac:chgData name="Claudia Castañon Perez" userId="S::claudia.castanon@mystratis.com::6d571616-6e18-462e-b46e-0030f7d50bc8" providerId="AD" clId="Web-{E33478B4-69C5-03EB-60CC-2509F9F07F1F}" dt="2025-03-04T15:22:06.850" v="105" actId="20577"/>
          <ac:spMkLst>
            <pc:docMk/>
            <pc:sldMk cId="2108733470" sldId="2147480803"/>
            <ac:spMk id="12" creationId="{ACCD9F5C-9DFD-C311-90D6-35D7435CD077}"/>
          </ac:spMkLst>
        </pc:spChg>
        <pc:picChg chg="del">
          <ac:chgData name="Claudia Castañon Perez" userId="S::claudia.castanon@mystratis.com::6d571616-6e18-462e-b46e-0030f7d50bc8" providerId="AD" clId="Web-{E33478B4-69C5-03EB-60CC-2509F9F07F1F}" dt="2025-03-04T14:39:59.592" v="0"/>
          <ac:picMkLst>
            <pc:docMk/>
            <pc:sldMk cId="2108733470" sldId="2147480803"/>
            <ac:picMk id="13" creationId="{FF87EC91-01D4-ABB5-BEE3-4323D8266F99}"/>
          </ac:picMkLst>
        </pc:picChg>
        <pc:picChg chg="del">
          <ac:chgData name="Claudia Castañon Perez" userId="S::claudia.castanon@mystratis.com::6d571616-6e18-462e-b46e-0030f7d50bc8" providerId="AD" clId="Web-{E33478B4-69C5-03EB-60CC-2509F9F07F1F}" dt="2025-03-04T14:40:06.030" v="1"/>
          <ac:picMkLst>
            <pc:docMk/>
            <pc:sldMk cId="2108733470" sldId="2147480803"/>
            <ac:picMk id="16" creationId="{EDCB522B-F5CA-667C-4954-93A417EAFC36}"/>
          </ac:picMkLst>
        </pc:picChg>
        <pc:picChg chg="mod">
          <ac:chgData name="Claudia Castañon Perez" userId="S::claudia.castanon@mystratis.com::6d571616-6e18-462e-b46e-0030f7d50bc8" providerId="AD" clId="Web-{E33478B4-69C5-03EB-60CC-2509F9F07F1F}" dt="2025-03-04T15:21:53.991" v="102" actId="1076"/>
          <ac:picMkLst>
            <pc:docMk/>
            <pc:sldMk cId="2108733470" sldId="2147480803"/>
            <ac:picMk id="17" creationId="{D358B0E2-F158-29A9-618B-608462235FC1}"/>
          </ac:picMkLst>
        </pc:picChg>
        <pc:picChg chg="del">
          <ac:chgData name="Claudia Castañon Perez" userId="S::claudia.castanon@mystratis.com::6d571616-6e18-462e-b46e-0030f7d50bc8" providerId="AD" clId="Web-{E33478B4-69C5-03EB-60CC-2509F9F07F1F}" dt="2025-03-04T14:40:09.749" v="2"/>
          <ac:picMkLst>
            <pc:docMk/>
            <pc:sldMk cId="2108733470" sldId="2147480803"/>
            <ac:picMk id="18" creationId="{F6DFE6E8-46BB-2CCE-AE7D-6EFA39E16750}"/>
          </ac:picMkLst>
        </pc:picChg>
      </pc:sldChg>
      <pc:sldChg chg="ord">
        <pc:chgData name="Claudia Castañon Perez" userId="S::claudia.castanon@mystratis.com::6d571616-6e18-462e-b46e-0030f7d50bc8" providerId="AD" clId="Web-{E33478B4-69C5-03EB-60CC-2509F9F07F1F}" dt="2025-03-04T16:22:49.273" v="107"/>
        <pc:sldMkLst>
          <pc:docMk/>
          <pc:sldMk cId="2642113184" sldId="2147480816"/>
        </pc:sldMkLst>
      </pc:sldChg>
    </pc:docChg>
  </pc:docChgLst>
  <pc:docChgLst>
    <pc:chgData name="Claudia Castañon Perez" userId="S::claudia.castanon@mystratis.com::6d571616-6e18-462e-b46e-0030f7d50bc8" providerId="AD" clId="Web-{8CB27558-786A-7539-4AD6-1F6012C0C79B}"/>
    <pc:docChg chg="addSld delSld modSld sldOrd modSection">
      <pc:chgData name="Claudia Castañon Perez" userId="S::claudia.castanon@mystratis.com::6d571616-6e18-462e-b46e-0030f7d50bc8" providerId="AD" clId="Web-{8CB27558-786A-7539-4AD6-1F6012C0C79B}" dt="2025-02-27T19:50:06.563" v="297"/>
      <pc:docMkLst>
        <pc:docMk/>
      </pc:docMkLst>
      <pc:sldChg chg="modSp">
        <pc:chgData name="Claudia Castañon Perez" userId="S::claudia.castanon@mystratis.com::6d571616-6e18-462e-b46e-0030f7d50bc8" providerId="AD" clId="Web-{8CB27558-786A-7539-4AD6-1F6012C0C79B}" dt="2025-02-26T18:39:15.542" v="40" actId="20577"/>
        <pc:sldMkLst>
          <pc:docMk/>
          <pc:sldMk cId="2541855371" sldId="267"/>
        </pc:sldMkLst>
        <pc:spChg chg="mod">
          <ac:chgData name="Claudia Castañon Perez" userId="S::claudia.castanon@mystratis.com::6d571616-6e18-462e-b46e-0030f7d50bc8" providerId="AD" clId="Web-{8CB27558-786A-7539-4AD6-1F6012C0C79B}" dt="2025-02-26T18:39:15.542" v="40" actId="20577"/>
          <ac:spMkLst>
            <pc:docMk/>
            <pc:sldMk cId="2541855371" sldId="267"/>
            <ac:spMk id="4" creationId="{78633A56-0F7E-6DF7-DA6E-7F39E8D97C72}"/>
          </ac:spMkLst>
        </pc:spChg>
      </pc:sldChg>
      <pc:sldChg chg="add">
        <pc:chgData name="Claudia Castañon Perez" userId="S::claudia.castanon@mystratis.com::6d571616-6e18-462e-b46e-0030f7d50bc8" providerId="AD" clId="Web-{8CB27558-786A-7539-4AD6-1F6012C0C79B}" dt="2025-02-27T19:18:30.455" v="295"/>
        <pc:sldMkLst>
          <pc:docMk/>
          <pc:sldMk cId="3067554209" sldId="1421"/>
        </pc:sldMkLst>
      </pc:sldChg>
      <pc:sldChg chg="del">
        <pc:chgData name="Claudia Castañon Perez" userId="S::claudia.castanon@mystratis.com::6d571616-6e18-462e-b46e-0030f7d50bc8" providerId="AD" clId="Web-{8CB27558-786A-7539-4AD6-1F6012C0C79B}" dt="2025-02-27T19:13:26.917" v="281"/>
        <pc:sldMkLst>
          <pc:docMk/>
          <pc:sldMk cId="2512569870" sldId="2147480739"/>
        </pc:sldMkLst>
      </pc:sldChg>
      <pc:sldChg chg="del">
        <pc:chgData name="Claudia Castañon Perez" userId="S::claudia.castanon@mystratis.com::6d571616-6e18-462e-b46e-0030f7d50bc8" providerId="AD" clId="Web-{8CB27558-786A-7539-4AD6-1F6012C0C79B}" dt="2025-02-27T19:13:27.464" v="282"/>
        <pc:sldMkLst>
          <pc:docMk/>
          <pc:sldMk cId="3042551865" sldId="2147480741"/>
        </pc:sldMkLst>
      </pc:sldChg>
      <pc:sldChg chg="del">
        <pc:chgData name="Claudia Castañon Perez" userId="S::claudia.castanon@mystratis.com::6d571616-6e18-462e-b46e-0030f7d50bc8" providerId="AD" clId="Web-{8CB27558-786A-7539-4AD6-1F6012C0C79B}" dt="2025-02-27T19:13:24.901" v="280"/>
        <pc:sldMkLst>
          <pc:docMk/>
          <pc:sldMk cId="2381772945" sldId="2147480744"/>
        </pc:sldMkLst>
      </pc:sldChg>
      <pc:sldChg chg="del">
        <pc:chgData name="Claudia Castañon Perez" userId="S::claudia.castanon@mystratis.com::6d571616-6e18-462e-b46e-0030f7d50bc8" providerId="AD" clId="Web-{8CB27558-786A-7539-4AD6-1F6012C0C79B}" dt="2025-02-27T19:12:58.493" v="275"/>
        <pc:sldMkLst>
          <pc:docMk/>
          <pc:sldMk cId="960759430" sldId="2147480746"/>
        </pc:sldMkLst>
      </pc:sldChg>
      <pc:sldChg chg="del">
        <pc:chgData name="Claudia Castañon Perez" userId="S::claudia.castanon@mystratis.com::6d571616-6e18-462e-b46e-0030f7d50bc8" providerId="AD" clId="Web-{8CB27558-786A-7539-4AD6-1F6012C0C79B}" dt="2025-02-27T19:13:28.386" v="283"/>
        <pc:sldMkLst>
          <pc:docMk/>
          <pc:sldMk cId="2556793290" sldId="2147480748"/>
        </pc:sldMkLst>
      </pc:sldChg>
      <pc:sldChg chg="del">
        <pc:chgData name="Claudia Castañon Perez" userId="S::claudia.castanon@mystratis.com::6d571616-6e18-462e-b46e-0030f7d50bc8" providerId="AD" clId="Web-{8CB27558-786A-7539-4AD6-1F6012C0C79B}" dt="2025-02-27T19:13:23.666" v="279"/>
        <pc:sldMkLst>
          <pc:docMk/>
          <pc:sldMk cId="1376557792" sldId="2147480759"/>
        </pc:sldMkLst>
      </pc:sldChg>
      <pc:sldChg chg="del">
        <pc:chgData name="Claudia Castañon Perez" userId="S::claudia.castanon@mystratis.com::6d571616-6e18-462e-b46e-0030f7d50bc8" providerId="AD" clId="Web-{8CB27558-786A-7539-4AD6-1F6012C0C79B}" dt="2025-02-27T19:13:29.604" v="284"/>
        <pc:sldMkLst>
          <pc:docMk/>
          <pc:sldMk cId="4158295185" sldId="2147480761"/>
        </pc:sldMkLst>
      </pc:sldChg>
      <pc:sldChg chg="del">
        <pc:chgData name="Claudia Castañon Perez" userId="S::claudia.castanon@mystratis.com::6d571616-6e18-462e-b46e-0030f7d50bc8" providerId="AD" clId="Web-{8CB27558-786A-7539-4AD6-1F6012C0C79B}" dt="2025-02-27T19:50:06.563" v="297"/>
        <pc:sldMkLst>
          <pc:docMk/>
          <pc:sldMk cId="413787753" sldId="2147480762"/>
        </pc:sldMkLst>
      </pc:sldChg>
      <pc:sldChg chg="del">
        <pc:chgData name="Claudia Castañon Perez" userId="S::claudia.castanon@mystratis.com::6d571616-6e18-462e-b46e-0030f7d50bc8" providerId="AD" clId="Web-{8CB27558-786A-7539-4AD6-1F6012C0C79B}" dt="2025-02-27T19:13:23.229" v="278"/>
        <pc:sldMkLst>
          <pc:docMk/>
          <pc:sldMk cId="773079361" sldId="2147480768"/>
        </pc:sldMkLst>
      </pc:sldChg>
      <pc:sldChg chg="del">
        <pc:chgData name="Claudia Castañon Perez" userId="S::claudia.castanon@mystratis.com::6d571616-6e18-462e-b46e-0030f7d50bc8" providerId="AD" clId="Web-{8CB27558-786A-7539-4AD6-1F6012C0C79B}" dt="2025-02-27T19:11:36.455" v="273"/>
        <pc:sldMkLst>
          <pc:docMk/>
          <pc:sldMk cId="38127682" sldId="2147480804"/>
        </pc:sldMkLst>
      </pc:sldChg>
      <pc:sldChg chg="del">
        <pc:chgData name="Claudia Castañon Perez" userId="S::claudia.castanon@mystratis.com::6d571616-6e18-462e-b46e-0030f7d50bc8" providerId="AD" clId="Web-{8CB27558-786A-7539-4AD6-1F6012C0C79B}" dt="2025-02-27T19:13:21.416" v="277"/>
        <pc:sldMkLst>
          <pc:docMk/>
          <pc:sldMk cId="106228545" sldId="2147480805"/>
        </pc:sldMkLst>
      </pc:sldChg>
      <pc:sldChg chg="del">
        <pc:chgData name="Claudia Castañon Perez" userId="S::claudia.castanon@mystratis.com::6d571616-6e18-462e-b46e-0030f7d50bc8" providerId="AD" clId="Web-{8CB27558-786A-7539-4AD6-1F6012C0C79B}" dt="2025-02-27T19:13:49.621" v="285"/>
        <pc:sldMkLst>
          <pc:docMk/>
          <pc:sldMk cId="3165697690" sldId="2147480806"/>
        </pc:sldMkLst>
      </pc:sldChg>
      <pc:sldChg chg="del">
        <pc:chgData name="Claudia Castañon Perez" userId="S::claudia.castanon@mystratis.com::6d571616-6e18-462e-b46e-0030f7d50bc8" providerId="AD" clId="Web-{8CB27558-786A-7539-4AD6-1F6012C0C79B}" dt="2025-02-27T19:13:51.856" v="286"/>
        <pc:sldMkLst>
          <pc:docMk/>
          <pc:sldMk cId="40320524" sldId="2147480807"/>
        </pc:sldMkLst>
      </pc:sldChg>
      <pc:sldChg chg="del">
        <pc:chgData name="Claudia Castañon Perez" userId="S::claudia.castanon@mystratis.com::6d571616-6e18-462e-b46e-0030f7d50bc8" providerId="AD" clId="Web-{8CB27558-786A-7539-4AD6-1F6012C0C79B}" dt="2025-02-27T19:12:53.711" v="274"/>
        <pc:sldMkLst>
          <pc:docMk/>
          <pc:sldMk cId="3846652243" sldId="2147480808"/>
        </pc:sldMkLst>
      </pc:sldChg>
      <pc:sldChg chg="del">
        <pc:chgData name="Claudia Castañon Perez" userId="S::claudia.castanon@mystratis.com::6d571616-6e18-462e-b46e-0030f7d50bc8" providerId="AD" clId="Web-{8CB27558-786A-7539-4AD6-1F6012C0C79B}" dt="2025-02-27T19:13:18.619" v="276"/>
        <pc:sldMkLst>
          <pc:docMk/>
          <pc:sldMk cId="4053752621" sldId="2147480809"/>
        </pc:sldMkLst>
      </pc:sldChg>
      <pc:sldChg chg="del">
        <pc:chgData name="Claudia Castañon Perez" userId="S::claudia.castanon@mystratis.com::6d571616-6e18-462e-b46e-0030f7d50bc8" providerId="AD" clId="Web-{8CB27558-786A-7539-4AD6-1F6012C0C79B}" dt="2025-02-27T19:14:52.611" v="287"/>
        <pc:sldMkLst>
          <pc:docMk/>
          <pc:sldMk cId="2128156142" sldId="2147480810"/>
        </pc:sldMkLst>
      </pc:sldChg>
      <pc:sldChg chg="add del ord">
        <pc:chgData name="Claudia Castañon Perez" userId="S::claudia.castanon@mystratis.com::6d571616-6e18-462e-b46e-0030f7d50bc8" providerId="AD" clId="Web-{8CB27558-786A-7539-4AD6-1F6012C0C79B}" dt="2025-02-27T19:18:38.831" v="296"/>
        <pc:sldMkLst>
          <pc:docMk/>
          <pc:sldMk cId="4223252663" sldId="2147480811"/>
        </pc:sldMkLst>
      </pc:sldChg>
      <pc:sldChg chg="modSp add ord">
        <pc:chgData name="Claudia Castañon Perez" userId="S::claudia.castanon@mystratis.com::6d571616-6e18-462e-b46e-0030f7d50bc8" providerId="AD" clId="Web-{8CB27558-786A-7539-4AD6-1F6012C0C79B}" dt="2025-02-27T19:15:22.081" v="293"/>
        <pc:sldMkLst>
          <pc:docMk/>
          <pc:sldMk cId="1940940105" sldId="2147480812"/>
        </pc:sldMkLst>
        <pc:spChg chg="mod">
          <ac:chgData name="Claudia Castañon Perez" userId="S::claudia.castanon@mystratis.com::6d571616-6e18-462e-b46e-0030f7d50bc8" providerId="AD" clId="Web-{8CB27558-786A-7539-4AD6-1F6012C0C79B}" dt="2025-02-27T15:28:21.315" v="269" actId="20577"/>
          <ac:spMkLst>
            <pc:docMk/>
            <pc:sldMk cId="1940940105" sldId="2147480812"/>
            <ac:spMk id="11" creationId="{B058CAB9-1B16-B39A-D351-FF506A92C810}"/>
          </ac:spMkLst>
        </pc:spChg>
      </pc:sldChg>
      <pc:sldChg chg="addSp delSp modSp add ord">
        <pc:chgData name="Claudia Castañon Perez" userId="S::claudia.castanon@mystratis.com::6d571616-6e18-462e-b46e-0030f7d50bc8" providerId="AD" clId="Web-{8CB27558-786A-7539-4AD6-1F6012C0C79B}" dt="2025-02-27T19:15:22.081" v="292"/>
        <pc:sldMkLst>
          <pc:docMk/>
          <pc:sldMk cId="4016937299" sldId="2147480813"/>
        </pc:sldMkLst>
        <pc:spChg chg="mod">
          <ac:chgData name="Claudia Castañon Perez" userId="S::claudia.castanon@mystratis.com::6d571616-6e18-462e-b46e-0030f7d50bc8" providerId="AD" clId="Web-{8CB27558-786A-7539-4AD6-1F6012C0C79B}" dt="2025-02-27T15:28:35.910" v="270" actId="20577"/>
          <ac:spMkLst>
            <pc:docMk/>
            <pc:sldMk cId="4016937299" sldId="2147480813"/>
            <ac:spMk id="4" creationId="{98DCA1F3-EC47-061A-D8F4-01D6B23C5DC7}"/>
          </ac:spMkLst>
        </pc:spChg>
        <pc:spChg chg="mod">
          <ac:chgData name="Claudia Castañon Perez" userId="S::claudia.castanon@mystratis.com::6d571616-6e18-462e-b46e-0030f7d50bc8" providerId="AD" clId="Web-{8CB27558-786A-7539-4AD6-1F6012C0C79B}" dt="2025-02-26T18:41:59.737" v="75" actId="20577"/>
          <ac:spMkLst>
            <pc:docMk/>
            <pc:sldMk cId="4016937299" sldId="2147480813"/>
            <ac:spMk id="26" creationId="{A136B726-577C-74B1-A72C-C04763DBB4CD}"/>
          </ac:spMkLst>
        </pc:spChg>
        <pc:grpChg chg="add del">
          <ac:chgData name="Claudia Castañon Perez" userId="S::claudia.castanon@mystratis.com::6d571616-6e18-462e-b46e-0030f7d50bc8" providerId="AD" clId="Web-{8CB27558-786A-7539-4AD6-1F6012C0C79B}" dt="2025-02-26T18:41:16.876" v="64"/>
          <ac:grpSpMkLst>
            <pc:docMk/>
            <pc:sldMk cId="4016937299" sldId="2147480813"/>
            <ac:grpSpMk id="1344" creationId="{F5B6742E-5A1C-F93E-44DF-6FD2292FACD6}"/>
          </ac:grpSpMkLst>
        </pc:grpChg>
      </pc:sldChg>
      <pc:sldChg chg="add ord">
        <pc:chgData name="Claudia Castañon Perez" userId="S::claudia.castanon@mystratis.com::6d571616-6e18-462e-b46e-0030f7d50bc8" providerId="AD" clId="Web-{8CB27558-786A-7539-4AD6-1F6012C0C79B}" dt="2025-02-27T19:15:22.081" v="291"/>
        <pc:sldMkLst>
          <pc:docMk/>
          <pc:sldMk cId="3543691208" sldId="2147480814"/>
        </pc:sldMkLst>
      </pc:sldChg>
      <pc:sldChg chg="addSp delSp modSp new del">
        <pc:chgData name="Claudia Castañon Perez" userId="S::claudia.castanon@mystratis.com::6d571616-6e18-462e-b46e-0030f7d50bc8" providerId="AD" clId="Web-{8CB27558-786A-7539-4AD6-1F6012C0C79B}" dt="2025-02-27T15:09:21.748" v="152"/>
        <pc:sldMkLst>
          <pc:docMk/>
          <pc:sldMk cId="2923472216" sldId="2147480815"/>
        </pc:sldMkLst>
      </pc:sldChg>
      <pc:sldChg chg="new del">
        <pc:chgData name="Claudia Castañon Perez" userId="S::claudia.castanon@mystratis.com::6d571616-6e18-462e-b46e-0030f7d50bc8" providerId="AD" clId="Web-{8CB27558-786A-7539-4AD6-1F6012C0C79B}" dt="2025-02-27T15:04:46.572" v="99"/>
        <pc:sldMkLst>
          <pc:docMk/>
          <pc:sldMk cId="3647279635" sldId="2147480815"/>
        </pc:sldMkLst>
      </pc:sldChg>
      <pc:sldChg chg="addSp delSp modSp add ord replId delAnim">
        <pc:chgData name="Claudia Castañon Perez" userId="S::claudia.castanon@mystratis.com::6d571616-6e18-462e-b46e-0030f7d50bc8" providerId="AD" clId="Web-{8CB27558-786A-7539-4AD6-1F6012C0C79B}" dt="2025-02-27T19:15:22.081" v="290"/>
        <pc:sldMkLst>
          <pc:docMk/>
          <pc:sldMk cId="2642113184" sldId="2147480816"/>
        </pc:sldMkLst>
        <pc:spChg chg="mod">
          <ac:chgData name="Claudia Castañon Perez" userId="S::claudia.castanon@mystratis.com::6d571616-6e18-462e-b46e-0030f7d50bc8" providerId="AD" clId="Web-{8CB27558-786A-7539-4AD6-1F6012C0C79B}" dt="2025-02-27T15:10:47.692" v="173" actId="20577"/>
          <ac:spMkLst>
            <pc:docMk/>
            <pc:sldMk cId="2642113184" sldId="2147480816"/>
            <ac:spMk id="7" creationId="{7EAE94E0-4008-7B97-CE98-D282578E0BA9}"/>
          </ac:spMkLst>
        </pc:spChg>
        <pc:graphicFrameChg chg="add mod modGraphic">
          <ac:chgData name="Claudia Castañon Perez" userId="S::claudia.castanon@mystratis.com::6d571616-6e18-462e-b46e-0030f7d50bc8" providerId="AD" clId="Web-{8CB27558-786A-7539-4AD6-1F6012C0C79B}" dt="2025-02-27T15:11:42.993" v="226"/>
          <ac:graphicFrameMkLst>
            <pc:docMk/>
            <pc:sldMk cId="2642113184" sldId="2147480816"/>
            <ac:graphicFrameMk id="5" creationId="{A9CF14BE-414F-5C0B-B613-74AF64DAD3DB}"/>
          </ac:graphicFrameMkLst>
        </pc:graphicFrameChg>
      </pc:sldChg>
      <pc:sldChg chg="add ord">
        <pc:chgData name="Claudia Castañon Perez" userId="S::claudia.castanon@mystratis.com::6d571616-6e18-462e-b46e-0030f7d50bc8" providerId="AD" clId="Web-{8CB27558-786A-7539-4AD6-1F6012C0C79B}" dt="2025-02-27T19:15:22.081" v="289"/>
        <pc:sldMkLst>
          <pc:docMk/>
          <pc:sldMk cId="3359642548" sldId="2147480817"/>
        </pc:sldMkLst>
      </pc:sldChg>
      <pc:sldChg chg="add">
        <pc:chgData name="Claudia Castañon Perez" userId="S::claudia.castanon@mystratis.com::6d571616-6e18-462e-b46e-0030f7d50bc8" providerId="AD" clId="Web-{8CB27558-786A-7539-4AD6-1F6012C0C79B}" dt="2025-02-27T19:11:27.767" v="272"/>
        <pc:sldMkLst>
          <pc:docMk/>
          <pc:sldMk cId="2675573884" sldId="2147480818"/>
        </pc:sldMkLst>
      </pc:sldChg>
      <pc:sldChg chg="add">
        <pc:chgData name="Claudia Castañon Perez" userId="S::claudia.castanon@mystratis.com::6d571616-6e18-462e-b46e-0030f7d50bc8" providerId="AD" clId="Web-{8CB27558-786A-7539-4AD6-1F6012C0C79B}" dt="2025-02-27T19:16:56.667" v="294"/>
        <pc:sldMkLst>
          <pc:docMk/>
          <pc:sldMk cId="73796801" sldId="2147480819"/>
        </pc:sldMkLst>
      </pc:sldChg>
      <pc:sldMasterChg chg="addSldLayout">
        <pc:chgData name="Claudia Castañon Perez" userId="S::claudia.castanon@mystratis.com::6d571616-6e18-462e-b46e-0030f7d50bc8" providerId="AD" clId="Web-{8CB27558-786A-7539-4AD6-1F6012C0C79B}" dt="2025-02-27T15:43:42.882" v="271"/>
        <pc:sldMasterMkLst>
          <pc:docMk/>
          <pc:sldMasterMk cId="2933118997" sldId="2147483648"/>
        </pc:sldMasterMkLst>
        <pc:sldLayoutChg chg="add">
          <pc:chgData name="Claudia Castañon Perez" userId="S::claudia.castanon@mystratis.com::6d571616-6e18-462e-b46e-0030f7d50bc8" providerId="AD" clId="Web-{8CB27558-786A-7539-4AD6-1F6012C0C79B}" dt="2025-02-27T15:43:42.882" v="271"/>
          <pc:sldLayoutMkLst>
            <pc:docMk/>
            <pc:sldMasterMk cId="2933118997" sldId="2147483648"/>
            <pc:sldLayoutMk cId="4202992591" sldId="2147483734"/>
          </pc:sldLayoutMkLst>
        </pc:sldLayoutChg>
      </pc:sldMasterChg>
    </pc:docChg>
  </pc:docChgLst>
  <pc:docChgLst>
    <pc:chgData name="Claudia Castañon Perez" userId="S::claudia.castanon@mystratis.com::6d571616-6e18-462e-b46e-0030f7d50bc8" providerId="AD" clId="Web-{9FA02F3E-08D7-81CE-9D5E-60C37313B21E}"/>
    <pc:docChg chg="addSld modSld modSection">
      <pc:chgData name="Claudia Castañon Perez" userId="S::claudia.castanon@mystratis.com::6d571616-6e18-462e-b46e-0030f7d50bc8" providerId="AD" clId="Web-{9FA02F3E-08D7-81CE-9D5E-60C37313B21E}" dt="2025-02-26T18:30:36.206" v="219"/>
      <pc:docMkLst>
        <pc:docMk/>
      </pc:docMkLst>
      <pc:sldChg chg="modSp">
        <pc:chgData name="Claudia Castañon Perez" userId="S::claudia.castanon@mystratis.com::6d571616-6e18-462e-b46e-0030f7d50bc8" providerId="AD" clId="Web-{9FA02F3E-08D7-81CE-9D5E-60C37313B21E}" dt="2025-02-26T18:19:19.163" v="12" actId="20577"/>
        <pc:sldMkLst>
          <pc:docMk/>
          <pc:sldMk cId="2541855371" sldId="267"/>
        </pc:sldMkLst>
        <pc:spChg chg="mod">
          <ac:chgData name="Claudia Castañon Perez" userId="S::claudia.castanon@mystratis.com::6d571616-6e18-462e-b46e-0030f7d50bc8" providerId="AD" clId="Web-{9FA02F3E-08D7-81CE-9D5E-60C37313B21E}" dt="2025-02-26T18:19:12.459" v="4" actId="20577"/>
          <ac:spMkLst>
            <pc:docMk/>
            <pc:sldMk cId="2541855371" sldId="267"/>
            <ac:spMk id="4" creationId="{78633A56-0F7E-6DF7-DA6E-7F39E8D97C72}"/>
          </ac:spMkLst>
        </pc:spChg>
        <pc:spChg chg="mod">
          <ac:chgData name="Claudia Castañon Perez" userId="S::claudia.castanon@mystratis.com::6d571616-6e18-462e-b46e-0030f7d50bc8" providerId="AD" clId="Web-{9FA02F3E-08D7-81CE-9D5E-60C37313B21E}" dt="2025-02-26T18:19:19.163" v="12" actId="20577"/>
          <ac:spMkLst>
            <pc:docMk/>
            <pc:sldMk cId="2541855371" sldId="267"/>
            <ac:spMk id="6" creationId="{0AD024A1-0A71-5F37-976F-A4B0E129E6AE}"/>
          </ac:spMkLst>
        </pc:spChg>
      </pc:sldChg>
      <pc:sldChg chg="add replId">
        <pc:chgData name="Claudia Castañon Perez" userId="S::claudia.castanon@mystratis.com::6d571616-6e18-462e-b46e-0030f7d50bc8" providerId="AD" clId="Web-{9FA02F3E-08D7-81CE-9D5E-60C37313B21E}" dt="2025-02-26T18:18:49.193" v="0"/>
        <pc:sldMkLst>
          <pc:docMk/>
          <pc:sldMk cId="2128156142" sldId="2147480810"/>
        </pc:sldMkLst>
      </pc:sldChg>
      <pc:sldChg chg="addSp delSp modSp add replId">
        <pc:chgData name="Claudia Castañon Perez" userId="S::claudia.castanon@mystratis.com::6d571616-6e18-462e-b46e-0030f7d50bc8" providerId="AD" clId="Web-{9FA02F3E-08D7-81CE-9D5E-60C37313B21E}" dt="2025-02-26T18:30:36.206" v="219"/>
        <pc:sldMkLst>
          <pc:docMk/>
          <pc:sldMk cId="4223252663" sldId="2147480811"/>
        </pc:sldMkLst>
      </pc:sldChg>
    </pc:docChg>
  </pc:docChgLst>
  <pc:docChgLst>
    <pc:chgData name="Claudia Castañon Perez" userId="S::claudia.castanon@mystratis.com::6d571616-6e18-462e-b46e-0030f7d50bc8" providerId="AD" clId="Web-{CF202A24-0A34-FC93-F1EF-9ECB2330B54F}"/>
    <pc:docChg chg="delSld modSld modSection">
      <pc:chgData name="Claudia Castañon Perez" userId="S::claudia.castanon@mystratis.com::6d571616-6e18-462e-b46e-0030f7d50bc8" providerId="AD" clId="Web-{CF202A24-0A34-FC93-F1EF-9ECB2330B54F}" dt="2025-02-28T16:59:22.046" v="100" actId="1076"/>
      <pc:docMkLst>
        <pc:docMk/>
      </pc:docMkLst>
      <pc:sldChg chg="del">
        <pc:chgData name="Claudia Castañon Perez" userId="S::claudia.castanon@mystratis.com::6d571616-6e18-462e-b46e-0030f7d50bc8" providerId="AD" clId="Web-{CF202A24-0A34-FC93-F1EF-9ECB2330B54F}" dt="2025-02-28T16:36:58.030" v="0"/>
        <pc:sldMkLst>
          <pc:docMk/>
          <pc:sldMk cId="3067554209" sldId="1421"/>
        </pc:sldMkLst>
      </pc:sldChg>
      <pc:sldChg chg="modSp">
        <pc:chgData name="Claudia Castañon Perez" userId="S::claudia.castanon@mystratis.com::6d571616-6e18-462e-b46e-0030f7d50bc8" providerId="AD" clId="Web-{CF202A24-0A34-FC93-F1EF-9ECB2330B54F}" dt="2025-02-28T16:59:22.046" v="100" actId="1076"/>
        <pc:sldMkLst>
          <pc:docMk/>
          <pc:sldMk cId="2675573884" sldId="2147480818"/>
        </pc:sldMkLst>
        <pc:spChg chg="mod">
          <ac:chgData name="Claudia Castañon Perez" userId="S::claudia.castanon@mystratis.com::6d571616-6e18-462e-b46e-0030f7d50bc8" providerId="AD" clId="Web-{CF202A24-0A34-FC93-F1EF-9ECB2330B54F}" dt="2025-02-28T16:55:33.132" v="60" actId="14100"/>
          <ac:spMkLst>
            <pc:docMk/>
            <pc:sldMk cId="2675573884" sldId="2147480818"/>
            <ac:spMk id="2" creationId="{A7FF99E8-552F-51A7-C876-E8EF72250ED5}"/>
          </ac:spMkLst>
        </pc:spChg>
        <pc:spChg chg="mod">
          <ac:chgData name="Claudia Castañon Perez" userId="S::claudia.castanon@mystratis.com::6d571616-6e18-462e-b46e-0030f7d50bc8" providerId="AD" clId="Web-{CF202A24-0A34-FC93-F1EF-9ECB2330B54F}" dt="2025-02-28T16:56:22.727" v="65" actId="14100"/>
          <ac:spMkLst>
            <pc:docMk/>
            <pc:sldMk cId="2675573884" sldId="2147480818"/>
            <ac:spMk id="3" creationId="{42C02BF6-4066-14D3-7F21-3305B20E766A}"/>
          </ac:spMkLst>
        </pc:spChg>
        <pc:spChg chg="mod">
          <ac:chgData name="Claudia Castañon Perez" userId="S::claudia.castanon@mystratis.com::6d571616-6e18-462e-b46e-0030f7d50bc8" providerId="AD" clId="Web-{CF202A24-0A34-FC93-F1EF-9ECB2330B54F}" dt="2025-02-28T16:55:00.709" v="47" actId="1076"/>
          <ac:spMkLst>
            <pc:docMk/>
            <pc:sldMk cId="2675573884" sldId="2147480818"/>
            <ac:spMk id="4" creationId="{E7B584AB-85DA-4DD4-4BF9-9F75E5F3D807}"/>
          </ac:spMkLst>
        </pc:spChg>
        <pc:spChg chg="mod">
          <ac:chgData name="Claudia Castañon Perez" userId="S::claudia.castanon@mystratis.com::6d571616-6e18-462e-b46e-0030f7d50bc8" providerId="AD" clId="Web-{CF202A24-0A34-FC93-F1EF-9ECB2330B54F}" dt="2025-02-28T16:56:09.602" v="63" actId="14100"/>
          <ac:spMkLst>
            <pc:docMk/>
            <pc:sldMk cId="2675573884" sldId="2147480818"/>
            <ac:spMk id="6" creationId="{DE972110-8849-D97A-898C-FF634505EE48}"/>
          </ac:spMkLst>
        </pc:spChg>
        <pc:spChg chg="mod">
          <ac:chgData name="Claudia Castañon Perez" userId="S::claudia.castanon@mystratis.com::6d571616-6e18-462e-b46e-0030f7d50bc8" providerId="AD" clId="Web-{CF202A24-0A34-FC93-F1EF-9ECB2330B54F}" dt="2025-02-28T16:54:44.271" v="42" actId="1076"/>
          <ac:spMkLst>
            <pc:docMk/>
            <pc:sldMk cId="2675573884" sldId="2147480818"/>
            <ac:spMk id="7" creationId="{D75E43A5-6FCF-E3E3-6DFD-51AC05138D15}"/>
          </ac:spMkLst>
        </pc:spChg>
        <pc:spChg chg="mod">
          <ac:chgData name="Claudia Castañon Perez" userId="S::claudia.castanon@mystratis.com::6d571616-6e18-462e-b46e-0030f7d50bc8" providerId="AD" clId="Web-{CF202A24-0A34-FC93-F1EF-9ECB2330B54F}" dt="2025-02-28T16:59:22.015" v="99" actId="1076"/>
          <ac:spMkLst>
            <pc:docMk/>
            <pc:sldMk cId="2675573884" sldId="2147480818"/>
            <ac:spMk id="8" creationId="{5AF58997-3051-E613-D1D3-6400EF140B19}"/>
          </ac:spMkLst>
        </pc:spChg>
        <pc:spChg chg="mod">
          <ac:chgData name="Claudia Castañon Perez" userId="S::claudia.castanon@mystratis.com::6d571616-6e18-462e-b46e-0030f7d50bc8" providerId="AD" clId="Web-{CF202A24-0A34-FC93-F1EF-9ECB2330B54F}" dt="2025-02-28T16:55:50.023" v="61" actId="14100"/>
          <ac:spMkLst>
            <pc:docMk/>
            <pc:sldMk cId="2675573884" sldId="2147480818"/>
            <ac:spMk id="9" creationId="{FA0F49B4-0BC3-6EA7-7FCD-4F17CF2B94C4}"/>
          </ac:spMkLst>
        </pc:spChg>
        <pc:spChg chg="mod">
          <ac:chgData name="Claudia Castañon Perez" userId="S::claudia.castanon@mystratis.com::6d571616-6e18-462e-b46e-0030f7d50bc8" providerId="AD" clId="Web-{CF202A24-0A34-FC93-F1EF-9ECB2330B54F}" dt="2025-02-28T16:54:44.317" v="43" actId="1076"/>
          <ac:spMkLst>
            <pc:docMk/>
            <pc:sldMk cId="2675573884" sldId="2147480818"/>
            <ac:spMk id="13" creationId="{28FB789E-28DD-0732-6E53-9717F1CBDA7D}"/>
          </ac:spMkLst>
        </pc:spChg>
        <pc:spChg chg="mod">
          <ac:chgData name="Claudia Castañon Perez" userId="S::claudia.castanon@mystratis.com::6d571616-6e18-462e-b46e-0030f7d50bc8" providerId="AD" clId="Web-{CF202A24-0A34-FC93-F1EF-9ECB2330B54F}" dt="2025-02-28T16:59:22.046" v="100" actId="1076"/>
          <ac:spMkLst>
            <pc:docMk/>
            <pc:sldMk cId="2675573884" sldId="2147480818"/>
            <ac:spMk id="14" creationId="{A7024CF1-54AF-28CD-583B-C92869086D08}"/>
          </ac:spMkLst>
        </pc:spChg>
        <pc:spChg chg="mod">
          <ac:chgData name="Claudia Castañon Perez" userId="S::claudia.castanon@mystratis.com::6d571616-6e18-462e-b46e-0030f7d50bc8" providerId="AD" clId="Web-{CF202A24-0A34-FC93-F1EF-9ECB2330B54F}" dt="2025-02-28T16:53:13.221" v="29" actId="1076"/>
          <ac:spMkLst>
            <pc:docMk/>
            <pc:sldMk cId="2675573884" sldId="2147480818"/>
            <ac:spMk id="19" creationId="{43EE5041-5881-75EB-65AF-7FD0C1B7D510}"/>
          </ac:spMkLst>
        </pc:spChg>
        <pc:spChg chg="mod">
          <ac:chgData name="Claudia Castañon Perez" userId="S::claudia.castanon@mystratis.com::6d571616-6e18-462e-b46e-0030f7d50bc8" providerId="AD" clId="Web-{CF202A24-0A34-FC93-F1EF-9ECB2330B54F}" dt="2025-02-28T16:58:29.263" v="95" actId="1076"/>
          <ac:spMkLst>
            <pc:docMk/>
            <pc:sldMk cId="2675573884" sldId="2147480818"/>
            <ac:spMk id="26" creationId="{08B8D7D5-AE09-D83D-29A3-DBC59251FA7B}"/>
          </ac:spMkLst>
        </pc:spChg>
        <pc:grpChg chg="mod">
          <ac:chgData name="Claudia Castañon Perez" userId="S::claudia.castanon@mystratis.com::6d571616-6e18-462e-b46e-0030f7d50bc8" providerId="AD" clId="Web-{CF202A24-0A34-FC93-F1EF-9ECB2330B54F}" dt="2025-02-28T16:58:15.887" v="87" actId="1076"/>
          <ac:grpSpMkLst>
            <pc:docMk/>
            <pc:sldMk cId="2675573884" sldId="2147480818"/>
            <ac:grpSpMk id="18" creationId="{A6F4FAD1-5A83-1A69-54D0-65023A0AA8EC}"/>
          </ac:grpSpMkLst>
        </pc:grpChg>
        <pc:grpChg chg="mod">
          <ac:chgData name="Claudia Castañon Perez" userId="S::claudia.castanon@mystratis.com::6d571616-6e18-462e-b46e-0030f7d50bc8" providerId="AD" clId="Web-{CF202A24-0A34-FC93-F1EF-9ECB2330B54F}" dt="2025-02-28T16:58:15.950" v="88" actId="1076"/>
          <ac:grpSpMkLst>
            <pc:docMk/>
            <pc:sldMk cId="2675573884" sldId="2147480818"/>
            <ac:grpSpMk id="20" creationId="{1841876F-8291-5AB4-7DDB-BB4D208B37F1}"/>
          </ac:grpSpMkLst>
        </pc:grpChg>
        <pc:grpChg chg="mod">
          <ac:chgData name="Claudia Castañon Perez" userId="S::claudia.castanon@mystratis.com::6d571616-6e18-462e-b46e-0030f7d50bc8" providerId="AD" clId="Web-{CF202A24-0A34-FC93-F1EF-9ECB2330B54F}" dt="2025-02-28T16:58:16.012" v="89" actId="1076"/>
          <ac:grpSpMkLst>
            <pc:docMk/>
            <pc:sldMk cId="2675573884" sldId="2147480818"/>
            <ac:grpSpMk id="23" creationId="{0187E9E2-DC45-0F42-9082-CE6BE6A71800}"/>
          </ac:grpSpMkLst>
        </pc:grpChg>
        <pc:grpChg chg="mod">
          <ac:chgData name="Claudia Castañon Perez" userId="S::claudia.castanon@mystratis.com::6d571616-6e18-462e-b46e-0030f7d50bc8" providerId="AD" clId="Web-{CF202A24-0A34-FC93-F1EF-9ECB2330B54F}" dt="2025-02-28T16:58:16.122" v="91" actId="1076"/>
          <ac:grpSpMkLst>
            <pc:docMk/>
            <pc:sldMk cId="2675573884" sldId="2147480818"/>
            <ac:grpSpMk id="24" creationId="{ED030058-244B-FAAE-160C-9BD458E820A4}"/>
          </ac:grpSpMkLst>
        </pc:grpChg>
        <pc:grpChg chg="mod">
          <ac:chgData name="Claudia Castañon Perez" userId="S::claudia.castanon@mystratis.com::6d571616-6e18-462e-b46e-0030f7d50bc8" providerId="AD" clId="Web-{CF202A24-0A34-FC93-F1EF-9ECB2330B54F}" dt="2025-02-28T16:58:16.075" v="90" actId="1076"/>
          <ac:grpSpMkLst>
            <pc:docMk/>
            <pc:sldMk cId="2675573884" sldId="2147480818"/>
            <ac:grpSpMk id="28" creationId="{237F1BEA-CD6B-E1FA-E786-A09B7169FBBF}"/>
          </ac:grpSpMkLst>
        </pc:grpChg>
        <pc:picChg chg="mod">
          <ac:chgData name="Claudia Castañon Perez" userId="S::claudia.castanon@mystratis.com::6d571616-6e18-462e-b46e-0030f7d50bc8" providerId="AD" clId="Web-{CF202A24-0A34-FC93-F1EF-9ECB2330B54F}" dt="2025-02-28T16:58:46.857" v="96" actId="14100"/>
          <ac:picMkLst>
            <pc:docMk/>
            <pc:sldMk cId="2675573884" sldId="2147480818"/>
            <ac:picMk id="22" creationId="{0E684B10-CB98-24D6-9164-C7DEBEFBAD4E}"/>
          </ac:picMkLst>
        </pc:picChg>
        <pc:picChg chg="mod">
          <ac:chgData name="Claudia Castañon Perez" userId="S::claudia.castanon@mystratis.com::6d571616-6e18-462e-b46e-0030f7d50bc8" providerId="AD" clId="Web-{CF202A24-0A34-FC93-F1EF-9ECB2330B54F}" dt="2025-02-28T16:58:16.231" v="94" actId="1076"/>
          <ac:picMkLst>
            <pc:docMk/>
            <pc:sldMk cId="2675573884" sldId="2147480818"/>
            <ac:picMk id="29" creationId="{2D36D170-81A8-19B3-A536-54FC92137530}"/>
          </ac:picMkLst>
        </pc:picChg>
        <pc:picChg chg="mod">
          <ac:chgData name="Claudia Castañon Perez" userId="S::claudia.castanon@mystratis.com::6d571616-6e18-462e-b46e-0030f7d50bc8" providerId="AD" clId="Web-{CF202A24-0A34-FC93-F1EF-9ECB2330B54F}" dt="2025-02-28T16:58:16.184" v="93" actId="1076"/>
          <ac:picMkLst>
            <pc:docMk/>
            <pc:sldMk cId="2675573884" sldId="2147480818"/>
            <ac:picMk id="31" creationId="{B578B1F4-63C1-7574-C717-A6832B1098FC}"/>
          </ac:picMkLst>
        </pc:picChg>
      </pc:sldChg>
    </pc:docChg>
  </pc:docChgLst>
  <pc:docChgLst>
    <pc:chgData name="Alfredo Sosa" userId="83509031-0ad5-40ad-b5b4-0a00e85eadc2" providerId="ADAL" clId="{472592C8-6822-48DD-BB18-6A1466A70C6C}"/>
    <pc:docChg chg="undo redo custSel addSld delSld modSld sldOrd modSection">
      <pc:chgData name="Alfredo Sosa" userId="83509031-0ad5-40ad-b5b4-0a00e85eadc2" providerId="ADAL" clId="{472592C8-6822-48DD-BB18-6A1466A70C6C}" dt="2025-03-05T23:44:13.118" v="4764" actId="20577"/>
      <pc:docMkLst>
        <pc:docMk/>
      </pc:docMkLst>
      <pc:sldChg chg="addSp delSp modSp mod modNotesTx">
        <pc:chgData name="Alfredo Sosa" userId="83509031-0ad5-40ad-b5b4-0a00e85eadc2" providerId="ADAL" clId="{472592C8-6822-48DD-BB18-6A1466A70C6C}" dt="2025-03-04T14:57:09.080" v="2192" actId="478"/>
        <pc:sldMkLst>
          <pc:docMk/>
          <pc:sldMk cId="52020849" sldId="269"/>
        </pc:sldMkLst>
        <pc:spChg chg="add del mod">
          <ac:chgData name="Alfredo Sosa" userId="83509031-0ad5-40ad-b5b4-0a00e85eadc2" providerId="ADAL" clId="{472592C8-6822-48DD-BB18-6A1466A70C6C}" dt="2025-03-04T14:57:09.080" v="2192" actId="478"/>
          <ac:spMkLst>
            <pc:docMk/>
            <pc:sldMk cId="52020849" sldId="269"/>
            <ac:spMk id="2" creationId="{A2064038-55BA-EE98-C19A-A3B564F60F5A}"/>
          </ac:spMkLst>
        </pc:spChg>
      </pc:sldChg>
      <pc:sldChg chg="addSp delSp modSp add mod ord setBg">
        <pc:chgData name="Alfredo Sosa" userId="83509031-0ad5-40ad-b5b4-0a00e85eadc2" providerId="ADAL" clId="{472592C8-6822-48DD-BB18-6A1466A70C6C}" dt="2025-03-04T17:52:34.159" v="3186" actId="478"/>
        <pc:sldMkLst>
          <pc:docMk/>
          <pc:sldMk cId="316422431" sldId="308"/>
        </pc:sldMkLst>
        <pc:spChg chg="add mod">
          <ac:chgData name="Alfredo Sosa" userId="83509031-0ad5-40ad-b5b4-0a00e85eadc2" providerId="ADAL" clId="{472592C8-6822-48DD-BB18-6A1466A70C6C}" dt="2025-03-04T01:12:17.877" v="2157"/>
          <ac:spMkLst>
            <pc:docMk/>
            <pc:sldMk cId="316422431" sldId="308"/>
            <ac:spMk id="4" creationId="{E3D2A39F-37FA-4D70-FDA6-A424A521D851}"/>
          </ac:spMkLst>
        </pc:spChg>
        <pc:spChg chg="del">
          <ac:chgData name="Alfredo Sosa" userId="83509031-0ad5-40ad-b5b4-0a00e85eadc2" providerId="ADAL" clId="{472592C8-6822-48DD-BB18-6A1466A70C6C}" dt="2025-03-04T17:52:34.159" v="3186" actId="478"/>
          <ac:spMkLst>
            <pc:docMk/>
            <pc:sldMk cId="316422431" sldId="308"/>
            <ac:spMk id="115" creationId="{00000000-0000-0000-0000-000000000000}"/>
          </ac:spMkLst>
        </pc:spChg>
      </pc:sldChg>
      <pc:sldChg chg="addSp delSp modSp mod">
        <pc:chgData name="Alfredo Sosa" userId="83509031-0ad5-40ad-b5b4-0a00e85eadc2" providerId="ADAL" clId="{472592C8-6822-48DD-BB18-6A1466A70C6C}" dt="2025-03-04T15:03:40.197" v="2242" actId="478"/>
        <pc:sldMkLst>
          <pc:docMk/>
          <pc:sldMk cId="1768696580" sldId="1334"/>
        </pc:sldMkLst>
        <pc:spChg chg="add del mod">
          <ac:chgData name="Alfredo Sosa" userId="83509031-0ad5-40ad-b5b4-0a00e85eadc2" providerId="ADAL" clId="{472592C8-6822-48DD-BB18-6A1466A70C6C}" dt="2025-03-04T15:03:40.197" v="2242" actId="478"/>
          <ac:spMkLst>
            <pc:docMk/>
            <pc:sldMk cId="1768696580" sldId="1334"/>
            <ac:spMk id="3" creationId="{DC23E072-F8B7-81AD-114E-9090B36B34E5}"/>
          </ac:spMkLst>
        </pc:spChg>
      </pc:sldChg>
      <pc:sldChg chg="addSp delSp modSp mod">
        <pc:chgData name="Alfredo Sosa" userId="83509031-0ad5-40ad-b5b4-0a00e85eadc2" providerId="ADAL" clId="{472592C8-6822-48DD-BB18-6A1466A70C6C}" dt="2025-03-04T14:57:11.483" v="2193" actId="478"/>
        <pc:sldMkLst>
          <pc:docMk/>
          <pc:sldMk cId="3858424741" sldId="1642"/>
        </pc:sldMkLst>
        <pc:spChg chg="add del mod">
          <ac:chgData name="Alfredo Sosa" userId="83509031-0ad5-40ad-b5b4-0a00e85eadc2" providerId="ADAL" clId="{472592C8-6822-48DD-BB18-6A1466A70C6C}" dt="2025-03-04T14:57:11.483" v="2193" actId="478"/>
          <ac:spMkLst>
            <pc:docMk/>
            <pc:sldMk cId="3858424741" sldId="1642"/>
            <ac:spMk id="2" creationId="{DED0BE63-6874-BD9F-A156-C3CE612B0F62}"/>
          </ac:spMkLst>
        </pc:spChg>
      </pc:sldChg>
      <pc:sldChg chg="addSp modSp add del mod ord">
        <pc:chgData name="Alfredo Sosa" userId="83509031-0ad5-40ad-b5b4-0a00e85eadc2" providerId="ADAL" clId="{472592C8-6822-48DD-BB18-6A1466A70C6C}" dt="2025-03-05T23:30:13.366" v="4506" actId="47"/>
        <pc:sldMkLst>
          <pc:docMk/>
          <pc:sldMk cId="82768555" sldId="12070"/>
        </pc:sldMkLst>
        <pc:spChg chg="add mod">
          <ac:chgData name="Alfredo Sosa" userId="83509031-0ad5-40ad-b5b4-0a00e85eadc2" providerId="ADAL" clId="{472592C8-6822-48DD-BB18-6A1466A70C6C}" dt="2025-03-04T00:40:12.357" v="1978" actId="1076"/>
          <ac:spMkLst>
            <pc:docMk/>
            <pc:sldMk cId="82768555" sldId="12070"/>
            <ac:spMk id="6" creationId="{F80D4477-3F0F-EBFE-C73F-8243E75163D0}"/>
          </ac:spMkLst>
        </pc:spChg>
      </pc:sldChg>
      <pc:sldChg chg="addSp delSp modSp mod">
        <pc:chgData name="Alfredo Sosa" userId="83509031-0ad5-40ad-b5b4-0a00e85eadc2" providerId="ADAL" clId="{472592C8-6822-48DD-BB18-6A1466A70C6C}" dt="2025-03-04T14:57:17.189" v="2195" actId="478"/>
        <pc:sldMkLst>
          <pc:docMk/>
          <pc:sldMk cId="2680681950" sldId="2147480770"/>
        </pc:sldMkLst>
        <pc:spChg chg="add del mod">
          <ac:chgData name="Alfredo Sosa" userId="83509031-0ad5-40ad-b5b4-0a00e85eadc2" providerId="ADAL" clId="{472592C8-6822-48DD-BB18-6A1466A70C6C}" dt="2025-03-04T14:57:17.189" v="2195" actId="478"/>
          <ac:spMkLst>
            <pc:docMk/>
            <pc:sldMk cId="2680681950" sldId="2147480770"/>
            <ac:spMk id="4" creationId="{74E88B42-0FC3-33B6-F288-ED40CF7BA5BE}"/>
          </ac:spMkLst>
        </pc:spChg>
      </pc:sldChg>
      <pc:sldChg chg="addSp delSp modSp mod">
        <pc:chgData name="Alfredo Sosa" userId="83509031-0ad5-40ad-b5b4-0a00e85eadc2" providerId="ADAL" clId="{472592C8-6822-48DD-BB18-6A1466A70C6C}" dt="2025-03-05T23:33:10.247" v="4536" actId="313"/>
        <pc:sldMkLst>
          <pc:docMk/>
          <pc:sldMk cId="2108733470" sldId="2147480803"/>
        </pc:sldMkLst>
        <pc:spChg chg="add del mod">
          <ac:chgData name="Alfredo Sosa" userId="83509031-0ad5-40ad-b5b4-0a00e85eadc2" providerId="ADAL" clId="{472592C8-6822-48DD-BB18-6A1466A70C6C}" dt="2025-03-04T15:00:38.647" v="2240" actId="478"/>
          <ac:spMkLst>
            <pc:docMk/>
            <pc:sldMk cId="2108733470" sldId="2147480803"/>
            <ac:spMk id="2" creationId="{67137DC4-CB45-047C-1B79-0D4DA9037D82}"/>
          </ac:spMkLst>
        </pc:spChg>
        <pc:spChg chg="add mod">
          <ac:chgData name="Alfredo Sosa" userId="83509031-0ad5-40ad-b5b4-0a00e85eadc2" providerId="ADAL" clId="{472592C8-6822-48DD-BB18-6A1466A70C6C}" dt="2025-03-04T17:25:37.041" v="2839"/>
          <ac:spMkLst>
            <pc:docMk/>
            <pc:sldMk cId="2108733470" sldId="2147480803"/>
            <ac:spMk id="2" creationId="{FBBB13C3-87B9-FE72-D084-90544B63D53E}"/>
          </ac:spMkLst>
        </pc:spChg>
        <pc:spChg chg="add mod">
          <ac:chgData name="Alfredo Sosa" userId="83509031-0ad5-40ad-b5b4-0a00e85eadc2" providerId="ADAL" clId="{472592C8-6822-48DD-BB18-6A1466A70C6C}" dt="2025-03-04T17:25:44.535" v="2842"/>
          <ac:spMkLst>
            <pc:docMk/>
            <pc:sldMk cId="2108733470" sldId="2147480803"/>
            <ac:spMk id="5" creationId="{88BF28B6-680D-2837-FF08-109EC8E5161A}"/>
          </ac:spMkLst>
        </pc:spChg>
        <pc:spChg chg="mod">
          <ac:chgData name="Alfredo Sosa" userId="83509031-0ad5-40ad-b5b4-0a00e85eadc2" providerId="ADAL" clId="{472592C8-6822-48DD-BB18-6A1466A70C6C}" dt="2025-03-05T23:33:10.247" v="4536" actId="313"/>
          <ac:spMkLst>
            <pc:docMk/>
            <pc:sldMk cId="2108733470" sldId="2147480803"/>
            <ac:spMk id="12" creationId="{ACCD9F5C-9DFD-C311-90D6-35D7435CD077}"/>
          </ac:spMkLst>
        </pc:spChg>
      </pc:sldChg>
      <pc:sldChg chg="addSp delSp modSp del mod ord">
        <pc:chgData name="Alfredo Sosa" userId="83509031-0ad5-40ad-b5b4-0a00e85eadc2" providerId="ADAL" clId="{472592C8-6822-48DD-BB18-6A1466A70C6C}" dt="2025-03-05T23:30:13.366" v="4506" actId="47"/>
        <pc:sldMkLst>
          <pc:docMk/>
          <pc:sldMk cId="1940940105" sldId="2147480812"/>
        </pc:sldMkLst>
        <pc:spChg chg="add del mod">
          <ac:chgData name="Alfredo Sosa" userId="83509031-0ad5-40ad-b5b4-0a00e85eadc2" providerId="ADAL" clId="{472592C8-6822-48DD-BB18-6A1466A70C6C}" dt="2025-03-04T14:57:27.416" v="2198" actId="478"/>
          <ac:spMkLst>
            <pc:docMk/>
            <pc:sldMk cId="1940940105" sldId="2147480812"/>
            <ac:spMk id="7" creationId="{A777310E-7BDD-F0F9-A08D-B4C88B4FD8AF}"/>
          </ac:spMkLst>
        </pc:spChg>
        <pc:spChg chg="mod">
          <ac:chgData name="Alfredo Sosa" userId="83509031-0ad5-40ad-b5b4-0a00e85eadc2" providerId="ADAL" clId="{472592C8-6822-48DD-BB18-6A1466A70C6C}" dt="2025-03-03T19:06:29.198" v="1287" actId="20577"/>
          <ac:spMkLst>
            <pc:docMk/>
            <pc:sldMk cId="1940940105" sldId="2147480812"/>
            <ac:spMk id="11" creationId="{B058CAB9-1B16-B39A-D351-FF506A92C810}"/>
          </ac:spMkLst>
        </pc:spChg>
        <pc:spChg chg="mod">
          <ac:chgData name="Alfredo Sosa" userId="83509031-0ad5-40ad-b5b4-0a00e85eadc2" providerId="ADAL" clId="{472592C8-6822-48DD-BB18-6A1466A70C6C}" dt="2025-03-03T19:04:30.960" v="1251" actId="20577"/>
          <ac:spMkLst>
            <pc:docMk/>
            <pc:sldMk cId="1940940105" sldId="2147480812"/>
            <ac:spMk id="15" creationId="{30488ECC-4356-94D2-0A59-88D841EC8705}"/>
          </ac:spMkLst>
        </pc:spChg>
      </pc:sldChg>
      <pc:sldChg chg="addSp delSp modSp del mod ord modNotesTx">
        <pc:chgData name="Alfredo Sosa" userId="83509031-0ad5-40ad-b5b4-0a00e85eadc2" providerId="ADAL" clId="{472592C8-6822-48DD-BB18-6A1466A70C6C}" dt="2025-03-05T23:30:13.366" v="4506" actId="47"/>
        <pc:sldMkLst>
          <pc:docMk/>
          <pc:sldMk cId="4016937299" sldId="2147480813"/>
        </pc:sldMkLst>
        <pc:spChg chg="add del mod">
          <ac:chgData name="Alfredo Sosa" userId="83509031-0ad5-40ad-b5b4-0a00e85eadc2" providerId="ADAL" clId="{472592C8-6822-48DD-BB18-6A1466A70C6C}" dt="2025-03-04T00:59:06.148" v="2025" actId="1076"/>
          <ac:spMkLst>
            <pc:docMk/>
            <pc:sldMk cId="4016937299" sldId="2147480813"/>
            <ac:spMk id="2" creationId="{BD890251-E079-21DB-C3A4-BDF69B3BA41B}"/>
          </ac:spMkLst>
        </pc:spChg>
        <pc:spChg chg="mod">
          <ac:chgData name="Alfredo Sosa" userId="83509031-0ad5-40ad-b5b4-0a00e85eadc2" providerId="ADAL" clId="{472592C8-6822-48DD-BB18-6A1466A70C6C}" dt="2025-03-03T18:58:02.373" v="1160" actId="20577"/>
          <ac:spMkLst>
            <pc:docMk/>
            <pc:sldMk cId="4016937299" sldId="2147480813"/>
            <ac:spMk id="4" creationId="{98DCA1F3-EC47-061A-D8F4-01D6B23C5DC7}"/>
          </ac:spMkLst>
        </pc:spChg>
        <pc:spChg chg="mod">
          <ac:chgData name="Alfredo Sosa" userId="83509031-0ad5-40ad-b5b4-0a00e85eadc2" providerId="ADAL" clId="{472592C8-6822-48DD-BB18-6A1466A70C6C}" dt="2025-03-03T23:02:15.822" v="1570" actId="14100"/>
          <ac:spMkLst>
            <pc:docMk/>
            <pc:sldMk cId="4016937299" sldId="2147480813"/>
            <ac:spMk id="41" creationId="{7B4C4948-57BA-3164-3A89-2B14E82A0A31}"/>
          </ac:spMkLst>
        </pc:spChg>
        <pc:spChg chg="add mod">
          <ac:chgData name="Alfredo Sosa" userId="83509031-0ad5-40ad-b5b4-0a00e85eadc2" providerId="ADAL" clId="{472592C8-6822-48DD-BB18-6A1466A70C6C}" dt="2025-03-03T22:36:00.228" v="1485" actId="790"/>
          <ac:spMkLst>
            <pc:docMk/>
            <pc:sldMk cId="4016937299" sldId="2147480813"/>
            <ac:spMk id="61" creationId="{838453C8-955F-9F22-91AC-C3B5BCB33894}"/>
          </ac:spMkLst>
        </pc:spChg>
        <pc:spChg chg="add mod">
          <ac:chgData name="Alfredo Sosa" userId="83509031-0ad5-40ad-b5b4-0a00e85eadc2" providerId="ADAL" clId="{472592C8-6822-48DD-BB18-6A1466A70C6C}" dt="2025-03-04T01:06:42.007" v="2091" actId="207"/>
          <ac:spMkLst>
            <pc:docMk/>
            <pc:sldMk cId="4016937299" sldId="2147480813"/>
            <ac:spMk id="63" creationId="{20F8ED0E-0CE0-9A88-7747-D61E27B2B32C}"/>
          </ac:spMkLst>
        </pc:spChg>
        <pc:spChg chg="add mod">
          <ac:chgData name="Alfredo Sosa" userId="83509031-0ad5-40ad-b5b4-0a00e85eadc2" providerId="ADAL" clId="{472592C8-6822-48DD-BB18-6A1466A70C6C}" dt="2025-03-03T23:27:50.614" v="1878" actId="208"/>
          <ac:spMkLst>
            <pc:docMk/>
            <pc:sldMk cId="4016937299" sldId="2147480813"/>
            <ac:spMk id="1345" creationId="{C4E2725E-526D-302E-79CD-402C25028172}"/>
          </ac:spMkLst>
        </pc:spChg>
        <pc:spChg chg="add mod">
          <ac:chgData name="Alfredo Sosa" userId="83509031-0ad5-40ad-b5b4-0a00e85eadc2" providerId="ADAL" clId="{472592C8-6822-48DD-BB18-6A1466A70C6C}" dt="2025-03-03T23:32:05.869" v="1891" actId="14100"/>
          <ac:spMkLst>
            <pc:docMk/>
            <pc:sldMk cId="4016937299" sldId="2147480813"/>
            <ac:spMk id="1347" creationId="{AB58E6E3-9B82-FBFC-1A7E-15444C97661F}"/>
          </ac:spMkLst>
        </pc:spChg>
        <pc:spChg chg="add mod">
          <ac:chgData name="Alfredo Sosa" userId="83509031-0ad5-40ad-b5b4-0a00e85eadc2" providerId="ADAL" clId="{472592C8-6822-48DD-BB18-6A1466A70C6C}" dt="2025-03-04T01:06:49.855" v="2092" actId="207"/>
          <ac:spMkLst>
            <pc:docMk/>
            <pc:sldMk cId="4016937299" sldId="2147480813"/>
            <ac:spMk id="1351" creationId="{9C15A609-2ED2-1EB5-C5D9-97E571CAA283}"/>
          </ac:spMkLst>
        </pc:spChg>
        <pc:spChg chg="add mod">
          <ac:chgData name="Alfredo Sosa" userId="83509031-0ad5-40ad-b5b4-0a00e85eadc2" providerId="ADAL" clId="{472592C8-6822-48DD-BB18-6A1466A70C6C}" dt="2025-03-04T00:44:27.842" v="2018" actId="14100"/>
          <ac:spMkLst>
            <pc:docMk/>
            <pc:sldMk cId="4016937299" sldId="2147480813"/>
            <ac:spMk id="1352" creationId="{B0C20853-75E1-6945-81A2-7390FC833083}"/>
          </ac:spMkLst>
        </pc:spChg>
        <pc:spChg chg="add mod">
          <ac:chgData name="Alfredo Sosa" userId="83509031-0ad5-40ad-b5b4-0a00e85eadc2" providerId="ADAL" clId="{472592C8-6822-48DD-BB18-6A1466A70C6C}" dt="2025-03-04T00:02:35.072" v="1947" actId="1076"/>
          <ac:spMkLst>
            <pc:docMk/>
            <pc:sldMk cId="4016937299" sldId="2147480813"/>
            <ac:spMk id="1354" creationId="{F0ACE3D7-AF5B-BD66-383F-9817C73833FC}"/>
          </ac:spMkLst>
        </pc:spChg>
        <pc:spChg chg="add mod">
          <ac:chgData name="Alfredo Sosa" userId="83509031-0ad5-40ad-b5b4-0a00e85eadc2" providerId="ADAL" clId="{472592C8-6822-48DD-BB18-6A1466A70C6C}" dt="2025-03-04T01:04:13.797" v="2026"/>
          <ac:spMkLst>
            <pc:docMk/>
            <pc:sldMk cId="4016937299" sldId="2147480813"/>
            <ac:spMk id="1355" creationId="{1E6BDC93-79A5-C666-E9DD-1CF8E18D106A}"/>
          </ac:spMkLst>
        </pc:spChg>
        <pc:spChg chg="add mod">
          <ac:chgData name="Alfredo Sosa" userId="83509031-0ad5-40ad-b5b4-0a00e85eadc2" providerId="ADAL" clId="{472592C8-6822-48DD-BB18-6A1466A70C6C}" dt="2025-03-04T01:04:53.289" v="2037" actId="1076"/>
          <ac:spMkLst>
            <pc:docMk/>
            <pc:sldMk cId="4016937299" sldId="2147480813"/>
            <ac:spMk id="1356" creationId="{66566D00-4998-52C4-BB9D-597FA6EA25D6}"/>
          </ac:spMkLst>
        </pc:spChg>
        <pc:spChg chg="add mod">
          <ac:chgData name="Alfredo Sosa" userId="83509031-0ad5-40ad-b5b4-0a00e85eadc2" providerId="ADAL" clId="{472592C8-6822-48DD-BB18-6A1466A70C6C}" dt="2025-03-04T01:05:31.160" v="2089" actId="20577"/>
          <ac:spMkLst>
            <pc:docMk/>
            <pc:sldMk cId="4016937299" sldId="2147480813"/>
            <ac:spMk id="1357" creationId="{7BE8681B-4827-C09E-4800-3AF8F1E3A6FD}"/>
          </ac:spMkLst>
        </pc:spChg>
        <pc:spChg chg="add mod">
          <ac:chgData name="Alfredo Sosa" userId="83509031-0ad5-40ad-b5b4-0a00e85eadc2" providerId="ADAL" clId="{472592C8-6822-48DD-BB18-6A1466A70C6C}" dt="2025-03-04T01:08:05.249" v="2112" actId="207"/>
          <ac:spMkLst>
            <pc:docMk/>
            <pc:sldMk cId="4016937299" sldId="2147480813"/>
            <ac:spMk id="1358" creationId="{62580C61-6893-2879-C325-38AFEF6D634B}"/>
          </ac:spMkLst>
        </pc:spChg>
        <pc:spChg chg="mod">
          <ac:chgData name="Alfredo Sosa" userId="83509031-0ad5-40ad-b5b4-0a00e85eadc2" providerId="ADAL" clId="{472592C8-6822-48DD-BB18-6A1466A70C6C}" dt="2025-03-03T18:16:18.115" v="1038" actId="20577"/>
          <ac:spMkLst>
            <pc:docMk/>
            <pc:sldMk cId="4016937299" sldId="2147480813"/>
            <ac:spMk id="1368" creationId="{BB35F462-A020-BA1E-7012-5609B1458C1A}"/>
          </ac:spMkLst>
        </pc:spChg>
        <pc:spChg chg="mod">
          <ac:chgData name="Alfredo Sosa" userId="83509031-0ad5-40ad-b5b4-0a00e85eadc2" providerId="ADAL" clId="{472592C8-6822-48DD-BB18-6A1466A70C6C}" dt="2025-03-03T18:16:14.009" v="1036" actId="20577"/>
          <ac:spMkLst>
            <pc:docMk/>
            <pc:sldMk cId="4016937299" sldId="2147480813"/>
            <ac:spMk id="1372" creationId="{6B03C142-9859-7691-49AC-60AF8DDE4747}"/>
          </ac:spMkLst>
        </pc:spChg>
        <pc:spChg chg="mod">
          <ac:chgData name="Alfredo Sosa" userId="83509031-0ad5-40ad-b5b4-0a00e85eadc2" providerId="ADAL" clId="{472592C8-6822-48DD-BB18-6A1466A70C6C}" dt="2025-03-03T18:58:18.708" v="1162" actId="20577"/>
          <ac:spMkLst>
            <pc:docMk/>
            <pc:sldMk cId="4016937299" sldId="2147480813"/>
            <ac:spMk id="1373" creationId="{EED470F2-2096-15F9-DD64-0EFD39A7BEBF}"/>
          </ac:spMkLst>
        </pc:spChg>
        <pc:grpChg chg="add del mod">
          <ac:chgData name="Alfredo Sosa" userId="83509031-0ad5-40ad-b5b4-0a00e85eadc2" providerId="ADAL" clId="{472592C8-6822-48DD-BB18-6A1466A70C6C}" dt="2025-03-03T23:30:22.291" v="1890" actId="14100"/>
          <ac:grpSpMkLst>
            <pc:docMk/>
            <pc:sldMk cId="4016937299" sldId="2147480813"/>
            <ac:grpSpMk id="1344" creationId="{F5B6742E-5A1C-F93E-44DF-6FD2292FACD6}"/>
          </ac:grpSpMkLst>
        </pc:grpChg>
        <pc:picChg chg="add mod">
          <ac:chgData name="Alfredo Sosa" userId="83509031-0ad5-40ad-b5b4-0a00e85eadc2" providerId="ADAL" clId="{472592C8-6822-48DD-BB18-6A1466A70C6C}" dt="2025-03-04T01:04:47.456" v="2036" actId="1076"/>
          <ac:picMkLst>
            <pc:docMk/>
            <pc:sldMk cId="4016937299" sldId="2147480813"/>
            <ac:picMk id="10" creationId="{518D3FE2-D066-38E0-F33C-3BE53D9B0097}"/>
          </ac:picMkLst>
        </pc:picChg>
        <pc:picChg chg="add mod modCrop">
          <ac:chgData name="Alfredo Sosa" userId="83509031-0ad5-40ad-b5b4-0a00e85eadc2" providerId="ADAL" clId="{472592C8-6822-48DD-BB18-6A1466A70C6C}" dt="2025-03-03T23:29:31.914" v="1885" actId="1076"/>
          <ac:picMkLst>
            <pc:docMk/>
            <pc:sldMk cId="4016937299" sldId="2147480813"/>
            <ac:picMk id="30" creationId="{045EF5CE-16FE-9E8F-9AA3-5E2D38DA1B0E}"/>
          </ac:picMkLst>
        </pc:picChg>
        <pc:picChg chg="add mod">
          <ac:chgData name="Alfredo Sosa" userId="83509031-0ad5-40ad-b5b4-0a00e85eadc2" providerId="ADAL" clId="{472592C8-6822-48DD-BB18-6A1466A70C6C}" dt="2025-03-04T00:52:37.182" v="2020" actId="1076"/>
          <ac:picMkLst>
            <pc:docMk/>
            <pc:sldMk cId="4016937299" sldId="2147480813"/>
            <ac:picMk id="52" creationId="{DAEC1388-D980-547B-01B7-543C263E8AE7}"/>
          </ac:picMkLst>
        </pc:picChg>
        <pc:picChg chg="add mod modCrop">
          <ac:chgData name="Alfredo Sosa" userId="83509031-0ad5-40ad-b5b4-0a00e85eadc2" providerId="ADAL" clId="{472592C8-6822-48DD-BB18-6A1466A70C6C}" dt="2025-03-03T23:29:56.746" v="1889" actId="1076"/>
          <ac:picMkLst>
            <pc:docMk/>
            <pc:sldMk cId="4016937299" sldId="2147480813"/>
            <ac:picMk id="1348" creationId="{4D327D59-7360-A5C5-FAF5-34ABD0D51B01}"/>
          </ac:picMkLst>
        </pc:picChg>
        <pc:picChg chg="mod">
          <ac:chgData name="Alfredo Sosa" userId="83509031-0ad5-40ad-b5b4-0a00e85eadc2" providerId="ADAL" clId="{472592C8-6822-48DD-BB18-6A1466A70C6C}" dt="2025-03-04T00:44:44.043" v="2019" actId="1076"/>
          <ac:picMkLst>
            <pc:docMk/>
            <pc:sldMk cId="4016937299" sldId="2147480813"/>
            <ac:picMk id="1349" creationId="{BC6909BE-2A51-2075-000D-B88429C98832}"/>
          </ac:picMkLst>
        </pc:picChg>
      </pc:sldChg>
      <pc:sldChg chg="addSp modSp del">
        <pc:chgData name="Alfredo Sosa" userId="83509031-0ad5-40ad-b5b4-0a00e85eadc2" providerId="ADAL" clId="{472592C8-6822-48DD-BB18-6A1466A70C6C}" dt="2025-03-03T20:16:51.619" v="1404" actId="47"/>
        <pc:sldMkLst>
          <pc:docMk/>
          <pc:sldMk cId="3543691208" sldId="2147480814"/>
        </pc:sldMkLst>
      </pc:sldChg>
      <pc:sldChg chg="addSp modSp mod ord">
        <pc:chgData name="Alfredo Sosa" userId="83509031-0ad5-40ad-b5b4-0a00e85eadc2" providerId="ADAL" clId="{472592C8-6822-48DD-BB18-6A1466A70C6C}" dt="2025-03-04T17:48:26.660" v="3185"/>
        <pc:sldMkLst>
          <pc:docMk/>
          <pc:sldMk cId="2642113184" sldId="2147480816"/>
        </pc:sldMkLst>
        <pc:spChg chg="add mod">
          <ac:chgData name="Alfredo Sosa" userId="83509031-0ad5-40ad-b5b4-0a00e85eadc2" providerId="ADAL" clId="{472592C8-6822-48DD-BB18-6A1466A70C6C}" dt="2025-03-04T01:07:17.326" v="2093"/>
          <ac:spMkLst>
            <pc:docMk/>
            <pc:sldMk cId="2642113184" sldId="2147480816"/>
            <ac:spMk id="2" creationId="{2ECB4D56-685D-D604-B548-58D22018CBBD}"/>
          </ac:spMkLst>
        </pc:spChg>
        <pc:graphicFrameChg chg="mod modGraphic">
          <ac:chgData name="Alfredo Sosa" userId="83509031-0ad5-40ad-b5b4-0a00e85eadc2" providerId="ADAL" clId="{472592C8-6822-48DD-BB18-6A1466A70C6C}" dt="2025-03-04T17:48:26.660" v="3185"/>
          <ac:graphicFrameMkLst>
            <pc:docMk/>
            <pc:sldMk cId="2642113184" sldId="2147480816"/>
            <ac:graphicFrameMk id="5" creationId="{A9CF14BE-414F-5C0B-B613-74AF64DAD3DB}"/>
          </ac:graphicFrameMkLst>
        </pc:graphicFrameChg>
      </pc:sldChg>
      <pc:sldChg chg="del ord">
        <pc:chgData name="Alfredo Sosa" userId="83509031-0ad5-40ad-b5b4-0a00e85eadc2" providerId="ADAL" clId="{472592C8-6822-48DD-BB18-6A1466A70C6C}" dt="2025-03-05T23:30:13.366" v="4506" actId="47"/>
        <pc:sldMkLst>
          <pc:docMk/>
          <pc:sldMk cId="3359642548" sldId="2147480817"/>
        </pc:sldMkLst>
      </pc:sldChg>
      <pc:sldChg chg="addSp delSp modSp mod">
        <pc:chgData name="Alfredo Sosa" userId="83509031-0ad5-40ad-b5b4-0a00e85eadc2" providerId="ADAL" clId="{472592C8-6822-48DD-BB18-6A1466A70C6C}" dt="2025-03-04T14:57:19.602" v="2196" actId="478"/>
        <pc:sldMkLst>
          <pc:docMk/>
          <pc:sldMk cId="2675573884" sldId="2147480818"/>
        </pc:sldMkLst>
        <pc:spChg chg="add del mod">
          <ac:chgData name="Alfredo Sosa" userId="83509031-0ad5-40ad-b5b4-0a00e85eadc2" providerId="ADAL" clId="{472592C8-6822-48DD-BB18-6A1466A70C6C}" dt="2025-03-04T14:57:19.602" v="2196" actId="478"/>
          <ac:spMkLst>
            <pc:docMk/>
            <pc:sldMk cId="2675573884" sldId="2147480818"/>
            <ac:spMk id="5" creationId="{3EF19DC6-8B3E-95D1-5BB1-62F0A97B5A4E}"/>
          </ac:spMkLst>
        </pc:spChg>
      </pc:sldChg>
      <pc:sldChg chg="addSp delSp modSp mod">
        <pc:chgData name="Alfredo Sosa" userId="83509031-0ad5-40ad-b5b4-0a00e85eadc2" providerId="ADAL" clId="{472592C8-6822-48DD-BB18-6A1466A70C6C}" dt="2025-03-04T14:57:22.583" v="2197" actId="478"/>
        <pc:sldMkLst>
          <pc:docMk/>
          <pc:sldMk cId="73796801" sldId="2147480819"/>
        </pc:sldMkLst>
        <pc:spChg chg="add del mod">
          <ac:chgData name="Alfredo Sosa" userId="83509031-0ad5-40ad-b5b4-0a00e85eadc2" providerId="ADAL" clId="{472592C8-6822-48DD-BB18-6A1466A70C6C}" dt="2025-03-04T14:57:22.583" v="2197" actId="478"/>
          <ac:spMkLst>
            <pc:docMk/>
            <pc:sldMk cId="73796801" sldId="2147480819"/>
            <ac:spMk id="3" creationId="{F999429F-DDD3-B8CC-9185-50664AC1DFF6}"/>
          </ac:spMkLst>
        </pc:spChg>
      </pc:sldChg>
      <pc:sldChg chg="addSp delSp modSp add del mod modNotesTx">
        <pc:chgData name="Alfredo Sosa" userId="83509031-0ad5-40ad-b5b4-0a00e85eadc2" providerId="ADAL" clId="{472592C8-6822-48DD-BB18-6A1466A70C6C}" dt="2025-03-05T23:30:13.366" v="4506" actId="47"/>
        <pc:sldMkLst>
          <pc:docMk/>
          <pc:sldMk cId="2244406975" sldId="2147480820"/>
        </pc:sldMkLst>
        <pc:spChg chg="mod">
          <ac:chgData name="Alfredo Sosa" userId="83509031-0ad5-40ad-b5b4-0a00e85eadc2" providerId="ADAL" clId="{472592C8-6822-48DD-BB18-6A1466A70C6C}" dt="2025-03-03T19:49:57.533" v="1401" actId="1076"/>
          <ac:spMkLst>
            <pc:docMk/>
            <pc:sldMk cId="2244406975" sldId="2147480820"/>
            <ac:spMk id="11" creationId="{F2651357-1117-EC58-F446-FE86900D1BB0}"/>
          </ac:spMkLst>
        </pc:spChg>
        <pc:spChg chg="add mod">
          <ac:chgData name="Alfredo Sosa" userId="83509031-0ad5-40ad-b5b4-0a00e85eadc2" providerId="ADAL" clId="{472592C8-6822-48DD-BB18-6A1466A70C6C}" dt="2025-03-03T17:55:56.887" v="895" actId="1076"/>
          <ac:spMkLst>
            <pc:docMk/>
            <pc:sldMk cId="2244406975" sldId="2147480820"/>
            <ac:spMk id="39" creationId="{A37DCB9A-D6E0-8CBA-8FD7-AEC59448750A}"/>
          </ac:spMkLst>
        </pc:spChg>
        <pc:spChg chg="add del mod">
          <ac:chgData name="Alfredo Sosa" userId="83509031-0ad5-40ad-b5b4-0a00e85eadc2" providerId="ADAL" clId="{472592C8-6822-48DD-BB18-6A1466A70C6C}" dt="2025-03-04T01:10:00.785" v="2118" actId="478"/>
          <ac:spMkLst>
            <pc:docMk/>
            <pc:sldMk cId="2244406975" sldId="2147480820"/>
            <ac:spMk id="62" creationId="{327614C9-E674-8D8B-4BA1-741566E6F55A}"/>
          </ac:spMkLst>
        </pc:spChg>
        <pc:spChg chg="add mod ord">
          <ac:chgData name="Alfredo Sosa" userId="83509031-0ad5-40ad-b5b4-0a00e85eadc2" providerId="ADAL" clId="{472592C8-6822-48DD-BB18-6A1466A70C6C}" dt="2025-03-03T17:33:16.487" v="173" actId="1076"/>
          <ac:spMkLst>
            <pc:docMk/>
            <pc:sldMk cId="2244406975" sldId="2147480820"/>
            <ac:spMk id="1347" creationId="{ED67F92B-4187-2E08-EB33-36152AAC055D}"/>
          </ac:spMkLst>
        </pc:spChg>
        <pc:spChg chg="mod">
          <ac:chgData name="Alfredo Sosa" userId="83509031-0ad5-40ad-b5b4-0a00e85eadc2" providerId="ADAL" clId="{472592C8-6822-48DD-BB18-6A1466A70C6C}" dt="2025-03-03T18:49:42.546" v="1155" actId="20577"/>
          <ac:spMkLst>
            <pc:docMk/>
            <pc:sldMk cId="2244406975" sldId="2147480820"/>
            <ac:spMk id="1406" creationId="{122D52EB-0F29-9CF8-8FC2-39A4F9336528}"/>
          </ac:spMkLst>
        </pc:spChg>
        <pc:spChg chg="add mod">
          <ac:chgData name="Alfredo Sosa" userId="83509031-0ad5-40ad-b5b4-0a00e85eadc2" providerId="ADAL" clId="{472592C8-6822-48DD-BB18-6A1466A70C6C}" dt="2025-03-04T01:11:37.381" v="2154" actId="20577"/>
          <ac:spMkLst>
            <pc:docMk/>
            <pc:sldMk cId="2244406975" sldId="2147480820"/>
            <ac:spMk id="1410" creationId="{615DF450-F2C5-A837-0E76-ED45B6B634C7}"/>
          </ac:spMkLst>
        </pc:spChg>
        <pc:spChg chg="mod">
          <ac:chgData name="Alfredo Sosa" userId="83509031-0ad5-40ad-b5b4-0a00e85eadc2" providerId="ADAL" clId="{472592C8-6822-48DD-BB18-6A1466A70C6C}" dt="2025-03-03T18:48:59.319" v="1136" actId="20577"/>
          <ac:spMkLst>
            <pc:docMk/>
            <pc:sldMk cId="2244406975" sldId="2147480820"/>
            <ac:spMk id="1421" creationId="{83B7564C-4375-280E-D291-8CDFC14B0FD2}"/>
          </ac:spMkLst>
        </pc:spChg>
        <pc:grpChg chg="mod">
          <ac:chgData name="Alfredo Sosa" userId="83509031-0ad5-40ad-b5b4-0a00e85eadc2" providerId="ADAL" clId="{472592C8-6822-48DD-BB18-6A1466A70C6C}" dt="2025-03-04T01:10:00.785" v="2118" actId="478"/>
          <ac:grpSpMkLst>
            <pc:docMk/>
            <pc:sldMk cId="2244406975" sldId="2147480820"/>
            <ac:grpSpMk id="48" creationId="{B76303BC-FF7A-3AC8-F4C7-7161F21F17E4}"/>
          </ac:grpSpMkLst>
        </pc:grpChg>
        <pc:grpChg chg="add del">
          <ac:chgData name="Alfredo Sosa" userId="83509031-0ad5-40ad-b5b4-0a00e85eadc2" providerId="ADAL" clId="{472592C8-6822-48DD-BB18-6A1466A70C6C}" dt="2025-03-04T01:10:00.785" v="2118" actId="478"/>
          <ac:grpSpMkLst>
            <pc:docMk/>
            <pc:sldMk cId="2244406975" sldId="2147480820"/>
            <ac:grpSpMk id="61" creationId="{F82463ED-7497-7D5E-58D2-0489A6DD8182}"/>
          </ac:grpSpMkLst>
        </pc:grpChg>
        <pc:picChg chg="add mod ord">
          <ac:chgData name="Alfredo Sosa" userId="83509031-0ad5-40ad-b5b4-0a00e85eadc2" providerId="ADAL" clId="{472592C8-6822-48DD-BB18-6A1466A70C6C}" dt="2025-03-03T17:26:33.813" v="89" actId="166"/>
          <ac:picMkLst>
            <pc:docMk/>
            <pc:sldMk cId="2244406975" sldId="2147480820"/>
            <ac:picMk id="1369" creationId="{811BF5D8-A7FC-6997-3979-4DC68AE5B1D1}"/>
          </ac:picMkLst>
        </pc:picChg>
        <pc:picChg chg="add mod ord">
          <ac:chgData name="Alfredo Sosa" userId="83509031-0ad5-40ad-b5b4-0a00e85eadc2" providerId="ADAL" clId="{472592C8-6822-48DD-BB18-6A1466A70C6C}" dt="2025-03-03T17:32:25.377" v="166" actId="1076"/>
          <ac:picMkLst>
            <pc:docMk/>
            <pc:sldMk cId="2244406975" sldId="2147480820"/>
            <ac:picMk id="1370" creationId="{05382E3B-6929-899A-FDA6-B0536155FD14}"/>
          </ac:picMkLst>
        </pc:picChg>
        <pc:picChg chg="add mod">
          <ac:chgData name="Alfredo Sosa" userId="83509031-0ad5-40ad-b5b4-0a00e85eadc2" providerId="ADAL" clId="{472592C8-6822-48DD-BB18-6A1466A70C6C}" dt="2025-03-03T17:32:23.068" v="165" actId="1076"/>
          <ac:picMkLst>
            <pc:docMk/>
            <pc:sldMk cId="2244406975" sldId="2147480820"/>
            <ac:picMk id="1377" creationId="{7B9F8E0F-D353-CC74-7F62-D9D3A9D5D4E1}"/>
          </ac:picMkLst>
        </pc:picChg>
      </pc:sldChg>
      <pc:sldChg chg="del">
        <pc:chgData name="Alfredo Sosa" userId="83509031-0ad5-40ad-b5b4-0a00e85eadc2" providerId="ADAL" clId="{472592C8-6822-48DD-BB18-6A1466A70C6C}" dt="2025-03-03T20:13:09.809" v="1403" actId="47"/>
        <pc:sldMkLst>
          <pc:docMk/>
          <pc:sldMk cId="2932324413" sldId="2147480821"/>
        </pc:sldMkLst>
      </pc:sldChg>
      <pc:sldChg chg="del ord">
        <pc:chgData name="Alfredo Sosa" userId="83509031-0ad5-40ad-b5b4-0a00e85eadc2" providerId="ADAL" clId="{472592C8-6822-48DD-BB18-6A1466A70C6C}" dt="2025-03-05T23:30:13.366" v="4506" actId="47"/>
        <pc:sldMkLst>
          <pc:docMk/>
          <pc:sldMk cId="3349944891" sldId="2147480821"/>
        </pc:sldMkLst>
      </pc:sldChg>
      <pc:sldChg chg="addSp delSp modSp mod ord">
        <pc:chgData name="Alfredo Sosa" userId="83509031-0ad5-40ad-b5b4-0a00e85eadc2" providerId="ADAL" clId="{472592C8-6822-48DD-BB18-6A1466A70C6C}" dt="2025-03-04T18:03:06.698" v="3192" actId="20577"/>
        <pc:sldMkLst>
          <pc:docMk/>
          <pc:sldMk cId="1558569887" sldId="2147480822"/>
        </pc:sldMkLst>
        <pc:spChg chg="del">
          <ac:chgData name="Alfredo Sosa" userId="83509031-0ad5-40ad-b5b4-0a00e85eadc2" providerId="ADAL" clId="{472592C8-6822-48DD-BB18-6A1466A70C6C}" dt="2025-03-04T16:27:27.529" v="2511" actId="478"/>
          <ac:spMkLst>
            <pc:docMk/>
            <pc:sldMk cId="1558569887" sldId="2147480822"/>
            <ac:spMk id="3" creationId="{E7B38D56-CDCD-75B9-E8ED-4120FF7AA190}"/>
          </ac:spMkLst>
        </pc:spChg>
        <pc:spChg chg="mod">
          <ac:chgData name="Alfredo Sosa" userId="83509031-0ad5-40ad-b5b4-0a00e85eadc2" providerId="ADAL" clId="{472592C8-6822-48DD-BB18-6A1466A70C6C}" dt="2025-03-04T18:03:06.698" v="3192" actId="20577"/>
          <ac:spMkLst>
            <pc:docMk/>
            <pc:sldMk cId="1558569887" sldId="2147480822"/>
            <ac:spMk id="11" creationId="{7DCD298D-9863-5497-90FF-ED414AF88CED}"/>
          </ac:spMkLst>
        </pc:spChg>
        <pc:spChg chg="del">
          <ac:chgData name="Alfredo Sosa" userId="83509031-0ad5-40ad-b5b4-0a00e85eadc2" providerId="ADAL" clId="{472592C8-6822-48DD-BB18-6A1466A70C6C}" dt="2025-03-04T01:10:24.914" v="2122" actId="478"/>
          <ac:spMkLst>
            <pc:docMk/>
            <pc:sldMk cId="1558569887" sldId="2147480822"/>
            <ac:spMk id="1468" creationId="{D57889F3-B74C-D6A8-064F-3927C430F75C}"/>
          </ac:spMkLst>
        </pc:spChg>
        <pc:spChg chg="del">
          <ac:chgData name="Alfredo Sosa" userId="83509031-0ad5-40ad-b5b4-0a00e85eadc2" providerId="ADAL" clId="{472592C8-6822-48DD-BB18-6A1466A70C6C}" dt="2025-03-04T01:10:57.967" v="2152" actId="478"/>
          <ac:spMkLst>
            <pc:docMk/>
            <pc:sldMk cId="1558569887" sldId="2147480822"/>
            <ac:spMk id="1477" creationId="{3FC3D693-198D-C903-29CB-9A6CB3F64497}"/>
          </ac:spMkLst>
        </pc:spChg>
        <pc:spChg chg="mod">
          <ac:chgData name="Alfredo Sosa" userId="83509031-0ad5-40ad-b5b4-0a00e85eadc2" providerId="ADAL" clId="{472592C8-6822-48DD-BB18-6A1466A70C6C}" dt="2025-03-04T01:10:36.837" v="2124" actId="1076"/>
          <ac:spMkLst>
            <pc:docMk/>
            <pc:sldMk cId="1558569887" sldId="2147480822"/>
            <ac:spMk id="1479" creationId="{931FBB1E-1835-3B7C-9F39-15AFED0EFA9A}"/>
          </ac:spMkLst>
        </pc:spChg>
        <pc:spChg chg="mod">
          <ac:chgData name="Alfredo Sosa" userId="83509031-0ad5-40ad-b5b4-0a00e85eadc2" providerId="ADAL" clId="{472592C8-6822-48DD-BB18-6A1466A70C6C}" dt="2025-03-04T01:10:49.850" v="2151" actId="20577"/>
          <ac:spMkLst>
            <pc:docMk/>
            <pc:sldMk cId="1558569887" sldId="2147480822"/>
            <ac:spMk id="1481" creationId="{A80F0BF1-9EAD-1783-C37E-F7E731E38E4E}"/>
          </ac:spMkLst>
        </pc:spChg>
        <pc:spChg chg="add mod">
          <ac:chgData name="Alfredo Sosa" userId="83509031-0ad5-40ad-b5b4-0a00e85eadc2" providerId="ADAL" clId="{472592C8-6822-48DD-BB18-6A1466A70C6C}" dt="2025-03-04T01:08:25.777" v="2114"/>
          <ac:spMkLst>
            <pc:docMk/>
            <pc:sldMk cId="1558569887" sldId="2147480822"/>
            <ac:spMk id="1515" creationId="{A67B9EEE-4AF9-6D25-60A2-F00672F67570}"/>
          </ac:spMkLst>
        </pc:spChg>
        <pc:spChg chg="add mod">
          <ac:chgData name="Alfredo Sosa" userId="83509031-0ad5-40ad-b5b4-0a00e85eadc2" providerId="ADAL" clId="{472592C8-6822-48DD-BB18-6A1466A70C6C}" dt="2025-03-04T17:04:56.267" v="2672" actId="113"/>
          <ac:spMkLst>
            <pc:docMk/>
            <pc:sldMk cId="1558569887" sldId="2147480822"/>
            <ac:spMk id="1519" creationId="{1954E793-0BDD-95B3-09A1-51F59619E705}"/>
          </ac:spMkLst>
        </pc:spChg>
        <pc:grpChg chg="del">
          <ac:chgData name="Alfredo Sosa" userId="83509031-0ad5-40ad-b5b4-0a00e85eadc2" providerId="ADAL" clId="{472592C8-6822-48DD-BB18-6A1466A70C6C}" dt="2025-03-04T01:10:57.967" v="2152" actId="478"/>
          <ac:grpSpMkLst>
            <pc:docMk/>
            <pc:sldMk cId="1558569887" sldId="2147480822"/>
            <ac:grpSpMk id="1448" creationId="{BD24D908-ED39-56AE-1AAA-9FA20CD56ADB}"/>
          </ac:grpSpMkLst>
        </pc:grpChg>
        <pc:picChg chg="mod">
          <ac:chgData name="Alfredo Sosa" userId="83509031-0ad5-40ad-b5b4-0a00e85eadc2" providerId="ADAL" clId="{472592C8-6822-48DD-BB18-6A1466A70C6C}" dt="2025-03-04T01:10:30.913" v="2123" actId="1076"/>
          <ac:picMkLst>
            <pc:docMk/>
            <pc:sldMk cId="1558569887" sldId="2147480822"/>
            <ac:picMk id="1478" creationId="{70B4DB62-93CA-4E4C-AC1A-E93CE85E15E6}"/>
          </ac:picMkLst>
        </pc:picChg>
        <pc:picChg chg="del">
          <ac:chgData name="Alfredo Sosa" userId="83509031-0ad5-40ad-b5b4-0a00e85eadc2" providerId="ADAL" clId="{472592C8-6822-48DD-BB18-6A1466A70C6C}" dt="2025-03-04T01:10:06.270" v="2119" actId="478"/>
          <ac:picMkLst>
            <pc:docMk/>
            <pc:sldMk cId="1558569887" sldId="2147480822"/>
            <ac:picMk id="1482" creationId="{CAE47D36-2893-5957-7F20-026653FB6BDE}"/>
          </ac:picMkLst>
        </pc:picChg>
        <pc:picChg chg="add del mod">
          <ac:chgData name="Alfredo Sosa" userId="83509031-0ad5-40ad-b5b4-0a00e85eadc2" providerId="ADAL" clId="{472592C8-6822-48DD-BB18-6A1466A70C6C}" dt="2025-03-04T01:10:21.208" v="2121" actId="478"/>
          <ac:picMkLst>
            <pc:docMk/>
            <pc:sldMk cId="1558569887" sldId="2147480822"/>
            <ac:picMk id="1517" creationId="{33513DAB-F079-C79C-B376-671664A0F947}"/>
          </ac:picMkLst>
        </pc:picChg>
        <pc:cxnChg chg="mod">
          <ac:chgData name="Alfredo Sosa" userId="83509031-0ad5-40ad-b5b4-0a00e85eadc2" providerId="ADAL" clId="{472592C8-6822-48DD-BB18-6A1466A70C6C}" dt="2025-03-04T15:00:11.877" v="2239" actId="14100"/>
          <ac:cxnSpMkLst>
            <pc:docMk/>
            <pc:sldMk cId="1558569887" sldId="2147480822"/>
            <ac:cxnSpMk id="1518" creationId="{35481958-4DC6-C55B-CFFD-2FE86050F7FB}"/>
          </ac:cxnSpMkLst>
        </pc:cxnChg>
      </pc:sldChg>
      <pc:sldChg chg="addSp delSp modSp mod">
        <pc:chgData name="Alfredo Sosa" userId="83509031-0ad5-40ad-b5b4-0a00e85eadc2" providerId="ADAL" clId="{472592C8-6822-48DD-BB18-6A1466A70C6C}" dt="2025-03-04T17:37:26.936" v="3029" actId="20577"/>
        <pc:sldMkLst>
          <pc:docMk/>
          <pc:sldMk cId="62157406" sldId="2147480823"/>
        </pc:sldMkLst>
        <pc:spChg chg="mod">
          <ac:chgData name="Alfredo Sosa" userId="83509031-0ad5-40ad-b5b4-0a00e85eadc2" providerId="ADAL" clId="{472592C8-6822-48DD-BB18-6A1466A70C6C}" dt="2025-03-04T15:04:36.948" v="2272" actId="20577"/>
          <ac:spMkLst>
            <pc:docMk/>
            <pc:sldMk cId="62157406" sldId="2147480823"/>
            <ac:spMk id="4" creationId="{500E86EF-F33F-7446-3BBC-329AFEAAD34E}"/>
          </ac:spMkLst>
        </pc:spChg>
        <pc:spChg chg="mod">
          <ac:chgData name="Alfredo Sosa" userId="83509031-0ad5-40ad-b5b4-0a00e85eadc2" providerId="ADAL" clId="{472592C8-6822-48DD-BB18-6A1466A70C6C}" dt="2025-03-04T14:58:15.990" v="2220" actId="1076"/>
          <ac:spMkLst>
            <pc:docMk/>
            <pc:sldMk cId="62157406" sldId="2147480823"/>
            <ac:spMk id="5" creationId="{11AE0E9F-A35E-3D9E-13B2-691796480E7C}"/>
          </ac:spMkLst>
        </pc:spChg>
        <pc:spChg chg="mod">
          <ac:chgData name="Alfredo Sosa" userId="83509031-0ad5-40ad-b5b4-0a00e85eadc2" providerId="ADAL" clId="{472592C8-6822-48DD-BB18-6A1466A70C6C}" dt="2025-03-04T15:22:57.845" v="2444" actId="14100"/>
          <ac:spMkLst>
            <pc:docMk/>
            <pc:sldMk cId="62157406" sldId="2147480823"/>
            <ac:spMk id="15" creationId="{F198BF90-5585-F5B9-A8B3-E5BD7D193DE7}"/>
          </ac:spMkLst>
        </pc:spChg>
        <pc:spChg chg="mod">
          <ac:chgData name="Alfredo Sosa" userId="83509031-0ad5-40ad-b5b4-0a00e85eadc2" providerId="ADAL" clId="{472592C8-6822-48DD-BB18-6A1466A70C6C}" dt="2025-03-04T15:56:21.630" v="2446" actId="255"/>
          <ac:spMkLst>
            <pc:docMk/>
            <pc:sldMk cId="62157406" sldId="2147480823"/>
            <ac:spMk id="30" creationId="{ED581B08-70DD-55D8-526B-D7886422A165}"/>
          </ac:spMkLst>
        </pc:spChg>
        <pc:spChg chg="add del">
          <ac:chgData name="Alfredo Sosa" userId="83509031-0ad5-40ad-b5b4-0a00e85eadc2" providerId="ADAL" clId="{472592C8-6822-48DD-BB18-6A1466A70C6C}" dt="2025-03-04T17:22:51.917" v="2681" actId="22"/>
          <ac:spMkLst>
            <pc:docMk/>
            <pc:sldMk cId="62157406" sldId="2147480823"/>
            <ac:spMk id="39" creationId="{5A9611E9-8C20-7F0E-CA09-FB2A095129BC}"/>
          </ac:spMkLst>
        </pc:spChg>
        <pc:spChg chg="add mod">
          <ac:chgData name="Alfredo Sosa" userId="83509031-0ad5-40ad-b5b4-0a00e85eadc2" providerId="ADAL" clId="{472592C8-6822-48DD-BB18-6A1466A70C6C}" dt="2025-03-04T17:23:51.958" v="2753" actId="1076"/>
          <ac:spMkLst>
            <pc:docMk/>
            <pc:sldMk cId="62157406" sldId="2147480823"/>
            <ac:spMk id="41" creationId="{2DB48407-A799-5C33-F47D-1111D721245A}"/>
          </ac:spMkLst>
        </pc:spChg>
        <pc:spChg chg="mod">
          <ac:chgData name="Alfredo Sosa" userId="83509031-0ad5-40ad-b5b4-0a00e85eadc2" providerId="ADAL" clId="{472592C8-6822-48DD-BB18-6A1466A70C6C}" dt="2025-03-04T17:27:27.933" v="2920" actId="20577"/>
          <ac:spMkLst>
            <pc:docMk/>
            <pc:sldMk cId="62157406" sldId="2147480823"/>
            <ac:spMk id="60" creationId="{757BCDD6-0EE3-5710-201E-6247DDE4DA08}"/>
          </ac:spMkLst>
        </pc:spChg>
        <pc:spChg chg="mod">
          <ac:chgData name="Alfredo Sosa" userId="83509031-0ad5-40ad-b5b4-0a00e85eadc2" providerId="ADAL" clId="{472592C8-6822-48DD-BB18-6A1466A70C6C}" dt="2025-03-04T17:21:56.904" v="2679" actId="5793"/>
          <ac:spMkLst>
            <pc:docMk/>
            <pc:sldMk cId="62157406" sldId="2147480823"/>
            <ac:spMk id="1360" creationId="{9337CE84-FE0B-B177-D401-92A1BBEF6AE9}"/>
          </ac:spMkLst>
        </pc:spChg>
        <pc:spChg chg="mod">
          <ac:chgData name="Alfredo Sosa" userId="83509031-0ad5-40ad-b5b4-0a00e85eadc2" providerId="ADAL" clId="{472592C8-6822-48DD-BB18-6A1466A70C6C}" dt="2025-03-04T17:37:26.936" v="3029" actId="20577"/>
          <ac:spMkLst>
            <pc:docMk/>
            <pc:sldMk cId="62157406" sldId="2147480823"/>
            <ac:spMk id="1361" creationId="{C4E0A768-6DC1-B5A2-B894-7E5220981FE3}"/>
          </ac:spMkLst>
        </pc:spChg>
      </pc:sldChg>
      <pc:sldChg chg="delSp modSp add mod setBg">
        <pc:chgData name="Alfredo Sosa" userId="83509031-0ad5-40ad-b5b4-0a00e85eadc2" providerId="ADAL" clId="{472592C8-6822-48DD-BB18-6A1466A70C6C}" dt="2025-03-05T23:44:13.118" v="4764" actId="20577"/>
        <pc:sldMkLst>
          <pc:docMk/>
          <pc:sldMk cId="489641637" sldId="2147480824"/>
        </pc:sldMkLst>
        <pc:spChg chg="mod">
          <ac:chgData name="Alfredo Sosa" userId="83509031-0ad5-40ad-b5b4-0a00e85eadc2" providerId="ADAL" clId="{472592C8-6822-48DD-BB18-6A1466A70C6C}" dt="2025-03-05T23:10:02.738" v="3200" actId="20577"/>
          <ac:spMkLst>
            <pc:docMk/>
            <pc:sldMk cId="489641637" sldId="2147480824"/>
            <ac:spMk id="7" creationId="{2078283B-61D4-0BF2-588B-FBFB94923386}"/>
          </ac:spMkLst>
        </pc:spChg>
        <pc:spChg chg="mod">
          <ac:chgData name="Alfredo Sosa" userId="83509031-0ad5-40ad-b5b4-0a00e85eadc2" providerId="ADAL" clId="{472592C8-6822-48DD-BB18-6A1466A70C6C}" dt="2025-03-05T23:44:13.118" v="4764" actId="20577"/>
          <ac:spMkLst>
            <pc:docMk/>
            <pc:sldMk cId="489641637" sldId="2147480824"/>
            <ac:spMk id="11" creationId="{EE9BC494-4DF5-997F-D4AE-594CDAB295C9}"/>
          </ac:spMkLst>
        </pc:spChg>
        <pc:spChg chg="del mod">
          <ac:chgData name="Alfredo Sosa" userId="83509031-0ad5-40ad-b5b4-0a00e85eadc2" providerId="ADAL" clId="{472592C8-6822-48DD-BB18-6A1466A70C6C}" dt="2025-03-05T23:11:25.469" v="3204"/>
          <ac:spMkLst>
            <pc:docMk/>
            <pc:sldMk cId="489641637" sldId="2147480824"/>
            <ac:spMk id="12" creationId="{ACCD9F5C-9DFD-C311-90D6-35D7435CD077}"/>
          </ac:spMkLst>
        </pc:spChg>
        <pc:picChg chg="del">
          <ac:chgData name="Alfredo Sosa" userId="83509031-0ad5-40ad-b5b4-0a00e85eadc2" providerId="ADAL" clId="{472592C8-6822-48DD-BB18-6A1466A70C6C}" dt="2025-03-05T23:11:25.464" v="3202" actId="478"/>
          <ac:picMkLst>
            <pc:docMk/>
            <pc:sldMk cId="489641637" sldId="2147480824"/>
            <ac:picMk id="17" creationId="{D358B0E2-F158-29A9-618B-608462235FC1}"/>
          </ac:picMkLst>
        </pc:picChg>
      </pc:sldChg>
      <pc:sldChg chg="new del">
        <pc:chgData name="Alfredo Sosa" userId="83509031-0ad5-40ad-b5b4-0a00e85eadc2" providerId="ADAL" clId="{472592C8-6822-48DD-BB18-6A1466A70C6C}" dt="2025-03-04T17:55:30.795" v="3189" actId="680"/>
        <pc:sldMkLst>
          <pc:docMk/>
          <pc:sldMk cId="691388868" sldId="2147480824"/>
        </pc:sldMkLst>
      </pc:sldChg>
      <pc:sldMasterChg chg="delSldLayout">
        <pc:chgData name="Alfredo Sosa" userId="83509031-0ad5-40ad-b5b4-0a00e85eadc2" providerId="ADAL" clId="{472592C8-6822-48DD-BB18-6A1466A70C6C}" dt="2025-03-05T23:30:13.366" v="4506" actId="47"/>
        <pc:sldMasterMkLst>
          <pc:docMk/>
          <pc:sldMasterMk cId="2933118997" sldId="2147483648"/>
        </pc:sldMasterMkLst>
        <pc:sldLayoutChg chg="del">
          <pc:chgData name="Alfredo Sosa" userId="83509031-0ad5-40ad-b5b4-0a00e85eadc2" providerId="ADAL" clId="{472592C8-6822-48DD-BB18-6A1466A70C6C}" dt="2025-03-05T23:30:13.366" v="4506" actId="47"/>
          <pc:sldLayoutMkLst>
            <pc:docMk/>
            <pc:sldMasterMk cId="2933118997" sldId="2147483648"/>
            <pc:sldLayoutMk cId="2498528809" sldId="2147483664"/>
          </pc:sldLayoutMkLst>
        </pc:sldLayoutChg>
        <pc:sldLayoutChg chg="del">
          <pc:chgData name="Alfredo Sosa" userId="83509031-0ad5-40ad-b5b4-0a00e85eadc2" providerId="ADAL" clId="{472592C8-6822-48DD-BB18-6A1466A70C6C}" dt="2025-03-05T23:30:13.366" v="4506" actId="47"/>
          <pc:sldLayoutMkLst>
            <pc:docMk/>
            <pc:sldMasterMk cId="2933118997" sldId="2147483648"/>
            <pc:sldLayoutMk cId="4202992591" sldId="2147483734"/>
          </pc:sldLayoutMkLst>
        </pc:sldLayoutChg>
        <pc:sldLayoutChg chg="del">
          <pc:chgData name="Alfredo Sosa" userId="83509031-0ad5-40ad-b5b4-0a00e85eadc2" providerId="ADAL" clId="{472592C8-6822-48DD-BB18-6A1466A70C6C}" dt="2025-03-05T23:30:13.366" v="4506" actId="47"/>
          <pc:sldLayoutMkLst>
            <pc:docMk/>
            <pc:sldMasterMk cId="2933118997" sldId="2147483648"/>
            <pc:sldLayoutMk cId="3790641666" sldId="2147483736"/>
          </pc:sldLayoutMkLst>
        </pc:sldLayoutChg>
      </pc:sldMasterChg>
    </pc:docChg>
  </pc:docChgLst>
  <pc:docChgLst>
    <pc:chgData name="Diego Enrique Islas Marure" userId="42f2b6ca-5958-4a80-b4b2-d346b482c5c9" providerId="ADAL" clId="{ADDA3C2E-40F9-48F6-9549-92A90786FF56}"/>
    <pc:docChg chg="undo custSel modSld modMainMaster">
      <pc:chgData name="Diego Enrique Islas Marure" userId="42f2b6ca-5958-4a80-b4b2-d346b482c5c9" providerId="ADAL" clId="{ADDA3C2E-40F9-48F6-9549-92A90786FF56}" dt="2025-03-04T19:32:51.077" v="760" actId="255"/>
      <pc:docMkLst>
        <pc:docMk/>
      </pc:docMkLst>
      <pc:sldChg chg="modSp mod">
        <pc:chgData name="Diego Enrique Islas Marure" userId="42f2b6ca-5958-4a80-b4b2-d346b482c5c9" providerId="ADAL" clId="{ADDA3C2E-40F9-48F6-9549-92A90786FF56}" dt="2025-03-04T19:32:51.077" v="760" actId="255"/>
        <pc:sldMkLst>
          <pc:docMk/>
          <pc:sldMk cId="2541855371" sldId="267"/>
        </pc:sldMkLst>
        <pc:spChg chg="mod">
          <ac:chgData name="Diego Enrique Islas Marure" userId="42f2b6ca-5958-4a80-b4b2-d346b482c5c9" providerId="ADAL" clId="{ADDA3C2E-40F9-48F6-9549-92A90786FF56}" dt="2025-03-04T19:32:51.077" v="760" actId="255"/>
          <ac:spMkLst>
            <pc:docMk/>
            <pc:sldMk cId="2541855371" sldId="267"/>
            <ac:spMk id="5" creationId="{1A537C96-0974-5072-EBA9-CEBE6929A9AB}"/>
          </ac:spMkLst>
        </pc:spChg>
      </pc:sldChg>
      <pc:sldChg chg="modSp mod">
        <pc:chgData name="Diego Enrique Islas Marure" userId="42f2b6ca-5958-4a80-b4b2-d346b482c5c9" providerId="ADAL" clId="{ADDA3C2E-40F9-48F6-9549-92A90786FF56}" dt="2025-03-04T00:51:12.228" v="0" actId="1076"/>
        <pc:sldMkLst>
          <pc:docMk/>
          <pc:sldMk cId="3858424741" sldId="1642"/>
        </pc:sldMkLst>
        <pc:picChg chg="mod">
          <ac:chgData name="Diego Enrique Islas Marure" userId="42f2b6ca-5958-4a80-b4b2-d346b482c5c9" providerId="ADAL" clId="{ADDA3C2E-40F9-48F6-9549-92A90786FF56}" dt="2025-03-04T00:51:12.228" v="0" actId="1076"/>
          <ac:picMkLst>
            <pc:docMk/>
            <pc:sldMk cId="3858424741" sldId="1642"/>
            <ac:picMk id="50" creationId="{53A1ACD8-2F35-9C20-B454-9F76E1640566}"/>
          </ac:picMkLst>
        </pc:picChg>
      </pc:sldChg>
      <pc:sldChg chg="modSp mod">
        <pc:chgData name="Diego Enrique Islas Marure" userId="42f2b6ca-5958-4a80-b4b2-d346b482c5c9" providerId="ADAL" clId="{ADDA3C2E-40F9-48F6-9549-92A90786FF56}" dt="2025-03-04T16:26:22.827" v="750" actId="14100"/>
        <pc:sldMkLst>
          <pc:docMk/>
          <pc:sldMk cId="2108733470" sldId="2147480803"/>
        </pc:sldMkLst>
        <pc:picChg chg="mod">
          <ac:chgData name="Diego Enrique Islas Marure" userId="42f2b6ca-5958-4a80-b4b2-d346b482c5c9" providerId="ADAL" clId="{ADDA3C2E-40F9-48F6-9549-92A90786FF56}" dt="2025-03-04T16:26:22.827" v="750" actId="14100"/>
          <ac:picMkLst>
            <pc:docMk/>
            <pc:sldMk cId="2108733470" sldId="2147480803"/>
            <ac:picMk id="17" creationId="{D358B0E2-F158-29A9-618B-608462235FC1}"/>
          </ac:picMkLst>
        </pc:picChg>
      </pc:sldChg>
      <pc:sldChg chg="modSp mod">
        <pc:chgData name="Diego Enrique Islas Marure" userId="42f2b6ca-5958-4a80-b4b2-d346b482c5c9" providerId="ADAL" clId="{ADDA3C2E-40F9-48F6-9549-92A90786FF56}" dt="2025-03-04T01:01:02.282" v="1" actId="1076"/>
        <pc:sldMkLst>
          <pc:docMk/>
          <pc:sldMk cId="4016937299" sldId="2147480813"/>
        </pc:sldMkLst>
        <pc:picChg chg="mod">
          <ac:chgData name="Diego Enrique Islas Marure" userId="42f2b6ca-5958-4a80-b4b2-d346b482c5c9" providerId="ADAL" clId="{ADDA3C2E-40F9-48F6-9549-92A90786FF56}" dt="2025-03-04T01:01:02.282" v="1" actId="1076"/>
          <ac:picMkLst>
            <pc:docMk/>
            <pc:sldMk cId="4016937299" sldId="2147480813"/>
            <ac:picMk id="30" creationId="{045EF5CE-16FE-9E8F-9AA3-5E2D38DA1B0E}"/>
          </ac:picMkLst>
        </pc:picChg>
      </pc:sldChg>
      <pc:sldChg chg="addSp delSp modSp mod">
        <pc:chgData name="Diego Enrique Islas Marure" userId="42f2b6ca-5958-4a80-b4b2-d346b482c5c9" providerId="ADAL" clId="{ADDA3C2E-40F9-48F6-9549-92A90786FF56}" dt="2025-03-04T14:44:57.282" v="749" actId="1076"/>
        <pc:sldMkLst>
          <pc:docMk/>
          <pc:sldMk cId="62157406" sldId="2147480823"/>
        </pc:sldMkLst>
        <pc:spChg chg="mod">
          <ac:chgData name="Diego Enrique Islas Marure" userId="42f2b6ca-5958-4a80-b4b2-d346b482c5c9" providerId="ADAL" clId="{ADDA3C2E-40F9-48F6-9549-92A90786FF56}" dt="2025-03-04T14:44:37.365" v="746" actId="1076"/>
          <ac:spMkLst>
            <pc:docMk/>
            <pc:sldMk cId="62157406" sldId="2147480823"/>
            <ac:spMk id="4" creationId="{500E86EF-F33F-7446-3BBC-329AFEAAD34E}"/>
          </ac:spMkLst>
        </pc:spChg>
        <pc:spChg chg="add mod">
          <ac:chgData name="Diego Enrique Islas Marure" userId="42f2b6ca-5958-4a80-b4b2-d346b482c5c9" providerId="ADAL" clId="{ADDA3C2E-40F9-48F6-9549-92A90786FF56}" dt="2025-03-04T03:33:53.396" v="714" actId="1076"/>
          <ac:spMkLst>
            <pc:docMk/>
            <pc:sldMk cId="62157406" sldId="2147480823"/>
            <ac:spMk id="5" creationId="{11AE0E9F-A35E-3D9E-13B2-691796480E7C}"/>
          </ac:spMkLst>
        </pc:spChg>
        <pc:spChg chg="add mod">
          <ac:chgData name="Diego Enrique Islas Marure" userId="42f2b6ca-5958-4a80-b4b2-d346b482c5c9" providerId="ADAL" clId="{ADDA3C2E-40F9-48F6-9549-92A90786FF56}" dt="2025-03-04T14:42:51.953" v="730" actId="207"/>
          <ac:spMkLst>
            <pc:docMk/>
            <pc:sldMk cId="62157406" sldId="2147480823"/>
            <ac:spMk id="10" creationId="{201D99EC-0AE3-9964-57DD-B38E086EAD4B}"/>
          </ac:spMkLst>
        </pc:spChg>
        <pc:spChg chg="add mod">
          <ac:chgData name="Diego Enrique Islas Marure" userId="42f2b6ca-5958-4a80-b4b2-d346b482c5c9" providerId="ADAL" clId="{ADDA3C2E-40F9-48F6-9549-92A90786FF56}" dt="2025-03-04T14:44:54.560" v="748" actId="1076"/>
          <ac:spMkLst>
            <pc:docMk/>
            <pc:sldMk cId="62157406" sldId="2147480823"/>
            <ac:spMk id="11" creationId="{50EB200D-B56F-BCD3-DC4B-EF3D164CA970}"/>
          </ac:spMkLst>
        </pc:spChg>
        <pc:spChg chg="add del">
          <ac:chgData name="Diego Enrique Islas Marure" userId="42f2b6ca-5958-4a80-b4b2-d346b482c5c9" providerId="ADAL" clId="{ADDA3C2E-40F9-48F6-9549-92A90786FF56}" dt="2025-03-04T01:37:18.195" v="23" actId="22"/>
          <ac:spMkLst>
            <pc:docMk/>
            <pc:sldMk cId="62157406" sldId="2147480823"/>
            <ac:spMk id="13" creationId="{078CC7E1-6B68-8AC8-6192-350FE43F2D17}"/>
          </ac:spMkLst>
        </pc:spChg>
        <pc:spChg chg="add mod">
          <ac:chgData name="Diego Enrique Islas Marure" userId="42f2b6ca-5958-4a80-b4b2-d346b482c5c9" providerId="ADAL" clId="{ADDA3C2E-40F9-48F6-9549-92A90786FF56}" dt="2025-03-04T02:01:09.424" v="185" actId="1076"/>
          <ac:spMkLst>
            <pc:docMk/>
            <pc:sldMk cId="62157406" sldId="2147480823"/>
            <ac:spMk id="14" creationId="{5FC69830-6EB1-3DD6-C609-C5D5CE7BBD3A}"/>
          </ac:spMkLst>
        </pc:spChg>
        <pc:spChg chg="add mod">
          <ac:chgData name="Diego Enrique Islas Marure" userId="42f2b6ca-5958-4a80-b4b2-d346b482c5c9" providerId="ADAL" clId="{ADDA3C2E-40F9-48F6-9549-92A90786FF56}" dt="2025-03-04T03:02:58.460" v="488" actId="1076"/>
          <ac:spMkLst>
            <pc:docMk/>
            <pc:sldMk cId="62157406" sldId="2147480823"/>
            <ac:spMk id="15" creationId="{F198BF90-5585-F5B9-A8B3-E5BD7D193DE7}"/>
          </ac:spMkLst>
        </pc:spChg>
        <pc:spChg chg="add mod">
          <ac:chgData name="Diego Enrique Islas Marure" userId="42f2b6ca-5958-4a80-b4b2-d346b482c5c9" providerId="ADAL" clId="{ADDA3C2E-40F9-48F6-9549-92A90786FF56}" dt="2025-03-04T03:17:22.046" v="620" actId="1076"/>
          <ac:spMkLst>
            <pc:docMk/>
            <pc:sldMk cId="62157406" sldId="2147480823"/>
            <ac:spMk id="19" creationId="{2109D166-C8C4-A9EB-FE87-79CF366EEB66}"/>
          </ac:spMkLst>
        </pc:spChg>
        <pc:spChg chg="add mod">
          <ac:chgData name="Diego Enrique Islas Marure" userId="42f2b6ca-5958-4a80-b4b2-d346b482c5c9" providerId="ADAL" clId="{ADDA3C2E-40F9-48F6-9549-92A90786FF56}" dt="2025-03-04T14:44:54.560" v="748" actId="1076"/>
          <ac:spMkLst>
            <pc:docMk/>
            <pc:sldMk cId="62157406" sldId="2147480823"/>
            <ac:spMk id="20" creationId="{791E4AF8-F559-35B7-F836-BEBB372BB2F6}"/>
          </ac:spMkLst>
        </pc:spChg>
        <pc:spChg chg="add mod">
          <ac:chgData name="Diego Enrique Islas Marure" userId="42f2b6ca-5958-4a80-b4b2-d346b482c5c9" providerId="ADAL" clId="{ADDA3C2E-40F9-48F6-9549-92A90786FF56}" dt="2025-03-04T03:12:42.638" v="539" actId="1076"/>
          <ac:spMkLst>
            <pc:docMk/>
            <pc:sldMk cId="62157406" sldId="2147480823"/>
            <ac:spMk id="21" creationId="{AF7BE03A-9883-FB45-FC81-A753579E5E21}"/>
          </ac:spMkLst>
        </pc:spChg>
        <pc:spChg chg="add mod">
          <ac:chgData name="Diego Enrique Islas Marure" userId="42f2b6ca-5958-4a80-b4b2-d346b482c5c9" providerId="ADAL" clId="{ADDA3C2E-40F9-48F6-9549-92A90786FF56}" dt="2025-03-04T03:12:47.253" v="541" actId="1076"/>
          <ac:spMkLst>
            <pc:docMk/>
            <pc:sldMk cId="62157406" sldId="2147480823"/>
            <ac:spMk id="22" creationId="{E1B2494B-4D84-5D9F-984B-80ACC7E75C83}"/>
          </ac:spMkLst>
        </pc:spChg>
        <pc:spChg chg="add mod">
          <ac:chgData name="Diego Enrique Islas Marure" userId="42f2b6ca-5958-4a80-b4b2-d346b482c5c9" providerId="ADAL" clId="{ADDA3C2E-40F9-48F6-9549-92A90786FF56}" dt="2025-03-04T14:44:54.560" v="748" actId="1076"/>
          <ac:spMkLst>
            <pc:docMk/>
            <pc:sldMk cId="62157406" sldId="2147480823"/>
            <ac:spMk id="24" creationId="{5B1EE36B-9141-1367-6346-13611B2068DC}"/>
          </ac:spMkLst>
        </pc:spChg>
        <pc:spChg chg="add mod">
          <ac:chgData name="Diego Enrique Islas Marure" userId="42f2b6ca-5958-4a80-b4b2-d346b482c5c9" providerId="ADAL" clId="{ADDA3C2E-40F9-48F6-9549-92A90786FF56}" dt="2025-03-04T02:06:03.287" v="234" actId="1076"/>
          <ac:spMkLst>
            <pc:docMk/>
            <pc:sldMk cId="62157406" sldId="2147480823"/>
            <ac:spMk id="25" creationId="{C6527E4E-C68B-B17B-98F6-32D618CE8E51}"/>
          </ac:spMkLst>
        </pc:spChg>
        <pc:spChg chg="add mod">
          <ac:chgData name="Diego Enrique Islas Marure" userId="42f2b6ca-5958-4a80-b4b2-d346b482c5c9" providerId="ADAL" clId="{ADDA3C2E-40F9-48F6-9549-92A90786FF56}" dt="2025-03-04T02:06:12.287" v="237" actId="1076"/>
          <ac:spMkLst>
            <pc:docMk/>
            <pc:sldMk cId="62157406" sldId="2147480823"/>
            <ac:spMk id="27" creationId="{F2DBBB54-C1F3-22B4-893F-BE2DAC60980A}"/>
          </ac:spMkLst>
        </pc:spChg>
        <pc:spChg chg="add mod">
          <ac:chgData name="Diego Enrique Islas Marure" userId="42f2b6ca-5958-4a80-b4b2-d346b482c5c9" providerId="ADAL" clId="{ADDA3C2E-40F9-48F6-9549-92A90786FF56}" dt="2025-03-04T02:05:24.855" v="226" actId="1076"/>
          <ac:spMkLst>
            <pc:docMk/>
            <pc:sldMk cId="62157406" sldId="2147480823"/>
            <ac:spMk id="29" creationId="{3AC0A46D-1992-31BC-4048-E16447ABA2D8}"/>
          </ac:spMkLst>
        </pc:spChg>
        <pc:spChg chg="add del">
          <ac:chgData name="Diego Enrique Islas Marure" userId="42f2b6ca-5958-4a80-b4b2-d346b482c5c9" providerId="ADAL" clId="{ADDA3C2E-40F9-48F6-9549-92A90786FF56}" dt="2025-03-04T02:09:29.449" v="271" actId="22"/>
          <ac:spMkLst>
            <pc:docMk/>
            <pc:sldMk cId="62157406" sldId="2147480823"/>
            <ac:spMk id="30" creationId="{3D8F0BEA-867B-70BE-2FEA-277832094540}"/>
          </ac:spMkLst>
        </pc:spChg>
        <pc:spChg chg="add mod">
          <ac:chgData name="Diego Enrique Islas Marure" userId="42f2b6ca-5958-4a80-b4b2-d346b482c5c9" providerId="ADAL" clId="{ADDA3C2E-40F9-48F6-9549-92A90786FF56}" dt="2025-03-04T03:09:50.115" v="529" actId="2711"/>
          <ac:spMkLst>
            <pc:docMk/>
            <pc:sldMk cId="62157406" sldId="2147480823"/>
            <ac:spMk id="30" creationId="{ED581B08-70DD-55D8-526B-D7886422A165}"/>
          </ac:spMkLst>
        </pc:spChg>
        <pc:spChg chg="add mod">
          <ac:chgData name="Diego Enrique Islas Marure" userId="42f2b6ca-5958-4a80-b4b2-d346b482c5c9" providerId="ADAL" clId="{ADDA3C2E-40F9-48F6-9549-92A90786FF56}" dt="2025-03-04T14:44:54.560" v="748" actId="1076"/>
          <ac:spMkLst>
            <pc:docMk/>
            <pc:sldMk cId="62157406" sldId="2147480823"/>
            <ac:spMk id="31" creationId="{33397E71-D8CE-AE79-0489-BF8746538B47}"/>
          </ac:spMkLst>
        </pc:spChg>
        <pc:spChg chg="add mod ord">
          <ac:chgData name="Diego Enrique Islas Marure" userId="42f2b6ca-5958-4a80-b4b2-d346b482c5c9" providerId="ADAL" clId="{ADDA3C2E-40F9-48F6-9549-92A90786FF56}" dt="2025-03-04T02:59:20.412" v="483" actId="166"/>
          <ac:spMkLst>
            <pc:docMk/>
            <pc:sldMk cId="62157406" sldId="2147480823"/>
            <ac:spMk id="32" creationId="{8E796A90-6D44-5C13-AEF1-64AE3A1561BC}"/>
          </ac:spMkLst>
        </pc:spChg>
        <pc:spChg chg="add del mod">
          <ac:chgData name="Diego Enrique Islas Marure" userId="42f2b6ca-5958-4a80-b4b2-d346b482c5c9" providerId="ADAL" clId="{ADDA3C2E-40F9-48F6-9549-92A90786FF56}" dt="2025-03-04T02:12:29.176" v="292" actId="1076"/>
          <ac:spMkLst>
            <pc:docMk/>
            <pc:sldMk cId="62157406" sldId="2147480823"/>
            <ac:spMk id="33" creationId="{92BB4065-FC65-AB97-DC4D-79D5CCD1B1DC}"/>
          </ac:spMkLst>
        </pc:spChg>
        <pc:spChg chg="add mod">
          <ac:chgData name="Diego Enrique Islas Marure" userId="42f2b6ca-5958-4a80-b4b2-d346b482c5c9" providerId="ADAL" clId="{ADDA3C2E-40F9-48F6-9549-92A90786FF56}" dt="2025-03-04T02:09:51.005" v="278" actId="1076"/>
          <ac:spMkLst>
            <pc:docMk/>
            <pc:sldMk cId="62157406" sldId="2147480823"/>
            <ac:spMk id="34" creationId="{59218474-1DED-26FE-6141-8F40BAB27A27}"/>
          </ac:spMkLst>
        </pc:spChg>
        <pc:spChg chg="add mod">
          <ac:chgData name="Diego Enrique Islas Marure" userId="42f2b6ca-5958-4a80-b4b2-d346b482c5c9" providerId="ADAL" clId="{ADDA3C2E-40F9-48F6-9549-92A90786FF56}" dt="2025-03-04T01:57:35.578" v="160"/>
          <ac:spMkLst>
            <pc:docMk/>
            <pc:sldMk cId="62157406" sldId="2147480823"/>
            <ac:spMk id="34" creationId="{94E2DA2F-3A14-E87B-CF4B-7151B01E63CA}"/>
          </ac:spMkLst>
        </pc:spChg>
        <pc:spChg chg="add mod">
          <ac:chgData name="Diego Enrique Islas Marure" userId="42f2b6ca-5958-4a80-b4b2-d346b482c5c9" providerId="ADAL" clId="{ADDA3C2E-40F9-48F6-9549-92A90786FF56}" dt="2025-03-04T14:44:54.560" v="748" actId="1076"/>
          <ac:spMkLst>
            <pc:docMk/>
            <pc:sldMk cId="62157406" sldId="2147480823"/>
            <ac:spMk id="35" creationId="{31399A25-D1DF-D79E-9D3C-109DFB8754B5}"/>
          </ac:spMkLst>
        </pc:spChg>
        <pc:spChg chg="add mod">
          <ac:chgData name="Diego Enrique Islas Marure" userId="42f2b6ca-5958-4a80-b4b2-d346b482c5c9" providerId="ADAL" clId="{ADDA3C2E-40F9-48F6-9549-92A90786FF56}" dt="2025-03-04T14:44:54.560" v="748" actId="1076"/>
          <ac:spMkLst>
            <pc:docMk/>
            <pc:sldMk cId="62157406" sldId="2147480823"/>
            <ac:spMk id="36" creationId="{BFF96ABE-35A6-5FE2-7846-834F6DE1FE9A}"/>
          </ac:spMkLst>
        </pc:spChg>
        <pc:spChg chg="add mod">
          <ac:chgData name="Diego Enrique Islas Marure" userId="42f2b6ca-5958-4a80-b4b2-d346b482c5c9" providerId="ADAL" clId="{ADDA3C2E-40F9-48F6-9549-92A90786FF56}" dt="2025-03-04T03:29:11.374" v="705" actId="2711"/>
          <ac:spMkLst>
            <pc:docMk/>
            <pc:sldMk cId="62157406" sldId="2147480823"/>
            <ac:spMk id="38" creationId="{E045C2DB-ADEA-6A44-213A-2B23658A426A}"/>
          </ac:spMkLst>
        </pc:spChg>
        <pc:spChg chg="add mod ord">
          <ac:chgData name="Diego Enrique Islas Marure" userId="42f2b6ca-5958-4a80-b4b2-d346b482c5c9" providerId="ADAL" clId="{ADDA3C2E-40F9-48F6-9549-92A90786FF56}" dt="2025-03-04T14:44:54.560" v="748" actId="1076"/>
          <ac:spMkLst>
            <pc:docMk/>
            <pc:sldMk cId="62157406" sldId="2147480823"/>
            <ac:spMk id="42" creationId="{32D48B24-0F0A-F51F-7BC7-C499C9422390}"/>
          </ac:spMkLst>
        </pc:spChg>
        <pc:spChg chg="add del">
          <ac:chgData name="Diego Enrique Islas Marure" userId="42f2b6ca-5958-4a80-b4b2-d346b482c5c9" providerId="ADAL" clId="{ADDA3C2E-40F9-48F6-9549-92A90786FF56}" dt="2025-03-04T03:12:55.349" v="544" actId="22"/>
          <ac:spMkLst>
            <pc:docMk/>
            <pc:sldMk cId="62157406" sldId="2147480823"/>
            <ac:spMk id="44" creationId="{E67B797C-5C40-4B6B-3514-B1DD6FC667A7}"/>
          </ac:spMkLst>
        </pc:spChg>
        <pc:spChg chg="add mod">
          <ac:chgData name="Diego Enrique Islas Marure" userId="42f2b6ca-5958-4a80-b4b2-d346b482c5c9" providerId="ADAL" clId="{ADDA3C2E-40F9-48F6-9549-92A90786FF56}" dt="2025-03-04T03:17:12.956" v="617" actId="20577"/>
          <ac:spMkLst>
            <pc:docMk/>
            <pc:sldMk cId="62157406" sldId="2147480823"/>
            <ac:spMk id="47" creationId="{E5917F0D-8447-9128-0056-45E91DE98836}"/>
          </ac:spMkLst>
        </pc:spChg>
        <pc:spChg chg="add del">
          <ac:chgData name="Diego Enrique Islas Marure" userId="42f2b6ca-5958-4a80-b4b2-d346b482c5c9" providerId="ADAL" clId="{ADDA3C2E-40F9-48F6-9549-92A90786FF56}" dt="2025-03-04T03:13:18.853" v="547" actId="22"/>
          <ac:spMkLst>
            <pc:docMk/>
            <pc:sldMk cId="62157406" sldId="2147480823"/>
            <ac:spMk id="48" creationId="{605A8C76-B740-C4BE-4936-909E060B8AE1}"/>
          </ac:spMkLst>
        </pc:spChg>
        <pc:spChg chg="add del mod">
          <ac:chgData name="Diego Enrique Islas Marure" userId="42f2b6ca-5958-4a80-b4b2-d346b482c5c9" providerId="ADAL" clId="{ADDA3C2E-40F9-48F6-9549-92A90786FF56}" dt="2025-03-04T02:42:26.086" v="458" actId="478"/>
          <ac:spMkLst>
            <pc:docMk/>
            <pc:sldMk cId="62157406" sldId="2147480823"/>
            <ac:spMk id="48" creationId="{F6062452-5AC3-02E6-BAEE-9FDB7BAF31D6}"/>
          </ac:spMkLst>
        </pc:spChg>
        <pc:spChg chg="add mod">
          <ac:chgData name="Diego Enrique Islas Marure" userId="42f2b6ca-5958-4a80-b4b2-d346b482c5c9" providerId="ADAL" clId="{ADDA3C2E-40F9-48F6-9549-92A90786FF56}" dt="2025-03-04T14:44:54.560" v="748" actId="1076"/>
          <ac:spMkLst>
            <pc:docMk/>
            <pc:sldMk cId="62157406" sldId="2147480823"/>
            <ac:spMk id="50" creationId="{3B0A5D8A-8FA7-E20A-1B7B-B91062932080}"/>
          </ac:spMkLst>
        </pc:spChg>
        <pc:spChg chg="add mod">
          <ac:chgData name="Diego Enrique Islas Marure" userId="42f2b6ca-5958-4a80-b4b2-d346b482c5c9" providerId="ADAL" clId="{ADDA3C2E-40F9-48F6-9549-92A90786FF56}" dt="2025-03-04T03:34:45.789" v="717" actId="1076"/>
          <ac:spMkLst>
            <pc:docMk/>
            <pc:sldMk cId="62157406" sldId="2147480823"/>
            <ac:spMk id="51" creationId="{98DB76E2-54B1-A53F-3A3A-4C2ECD67E728}"/>
          </ac:spMkLst>
        </pc:spChg>
        <pc:spChg chg="add mod ord">
          <ac:chgData name="Diego Enrique Islas Marure" userId="42f2b6ca-5958-4a80-b4b2-d346b482c5c9" providerId="ADAL" clId="{ADDA3C2E-40F9-48F6-9549-92A90786FF56}" dt="2025-03-04T14:44:54.560" v="748" actId="1076"/>
          <ac:spMkLst>
            <pc:docMk/>
            <pc:sldMk cId="62157406" sldId="2147480823"/>
            <ac:spMk id="56" creationId="{2DD2596E-236C-1827-E63C-FB4BD5973012}"/>
          </ac:spMkLst>
        </pc:spChg>
        <pc:spChg chg="add mod">
          <ac:chgData name="Diego Enrique Islas Marure" userId="42f2b6ca-5958-4a80-b4b2-d346b482c5c9" providerId="ADAL" clId="{ADDA3C2E-40F9-48F6-9549-92A90786FF56}" dt="2025-03-04T03:18:08.846" v="625" actId="1076"/>
          <ac:spMkLst>
            <pc:docMk/>
            <pc:sldMk cId="62157406" sldId="2147480823"/>
            <ac:spMk id="58" creationId="{3AB919F4-C9F7-F65D-1CFA-E59A9264C639}"/>
          </ac:spMkLst>
        </pc:spChg>
        <pc:spChg chg="add mod">
          <ac:chgData name="Diego Enrique Islas Marure" userId="42f2b6ca-5958-4a80-b4b2-d346b482c5c9" providerId="ADAL" clId="{ADDA3C2E-40F9-48F6-9549-92A90786FF56}" dt="2025-03-04T14:44:54.560" v="748" actId="1076"/>
          <ac:spMkLst>
            <pc:docMk/>
            <pc:sldMk cId="62157406" sldId="2147480823"/>
            <ac:spMk id="60" creationId="{757BCDD6-0EE3-5710-201E-6247DDE4DA08}"/>
          </ac:spMkLst>
        </pc:spChg>
        <pc:spChg chg="mod">
          <ac:chgData name="Diego Enrique Islas Marure" userId="42f2b6ca-5958-4a80-b4b2-d346b482c5c9" providerId="ADAL" clId="{ADDA3C2E-40F9-48F6-9549-92A90786FF56}" dt="2025-03-04T14:44:14.613" v="742" actId="255"/>
          <ac:spMkLst>
            <pc:docMk/>
            <pc:sldMk cId="62157406" sldId="2147480823"/>
            <ac:spMk id="63" creationId="{E666FEED-A71C-6BF1-456D-E30B86FF9920}"/>
          </ac:spMkLst>
        </pc:spChg>
        <pc:spChg chg="mod">
          <ac:chgData name="Diego Enrique Islas Marure" userId="42f2b6ca-5958-4a80-b4b2-d346b482c5c9" providerId="ADAL" clId="{ADDA3C2E-40F9-48F6-9549-92A90786FF56}" dt="2025-03-04T14:44:22.885" v="743" actId="2711"/>
          <ac:spMkLst>
            <pc:docMk/>
            <pc:sldMk cId="62157406" sldId="2147480823"/>
            <ac:spMk id="1351" creationId="{39752A2D-04A5-05DC-87F4-F74D5AF5C5B9}"/>
          </ac:spMkLst>
        </pc:spChg>
        <pc:spChg chg="mod">
          <ac:chgData name="Diego Enrique Islas Marure" userId="42f2b6ca-5958-4a80-b4b2-d346b482c5c9" providerId="ADAL" clId="{ADDA3C2E-40F9-48F6-9549-92A90786FF56}" dt="2025-03-04T03:27:29.805" v="701" actId="14100"/>
          <ac:spMkLst>
            <pc:docMk/>
            <pc:sldMk cId="62157406" sldId="2147480823"/>
            <ac:spMk id="1368" creationId="{A81EBAD7-F83D-C031-7F60-7A2E197EDBC6}"/>
          </ac:spMkLst>
        </pc:spChg>
        <pc:grpChg chg="mod">
          <ac:chgData name="Diego Enrique Islas Marure" userId="42f2b6ca-5958-4a80-b4b2-d346b482c5c9" providerId="ADAL" clId="{ADDA3C2E-40F9-48F6-9549-92A90786FF56}" dt="2025-03-04T14:44:43.212" v="747" actId="1076"/>
          <ac:grpSpMkLst>
            <pc:docMk/>
            <pc:sldMk cId="62157406" sldId="2147480823"/>
            <ac:grpSpMk id="2" creationId="{2B763869-1C23-9592-8AB8-E66B14E59A16}"/>
          </ac:grpSpMkLst>
        </pc:grpChg>
        <pc:grpChg chg="mod">
          <ac:chgData name="Diego Enrique Islas Marure" userId="42f2b6ca-5958-4a80-b4b2-d346b482c5c9" providerId="ADAL" clId="{ADDA3C2E-40F9-48F6-9549-92A90786FF56}" dt="2025-03-04T14:44:43.212" v="747" actId="1076"/>
          <ac:grpSpMkLst>
            <pc:docMk/>
            <pc:sldMk cId="62157406" sldId="2147480823"/>
            <ac:grpSpMk id="7" creationId="{AD50CCB3-E244-3C65-7609-2FD92347445B}"/>
          </ac:grpSpMkLst>
        </pc:grpChg>
        <pc:grpChg chg="mod">
          <ac:chgData name="Diego Enrique Islas Marure" userId="42f2b6ca-5958-4a80-b4b2-d346b482c5c9" providerId="ADAL" clId="{ADDA3C2E-40F9-48F6-9549-92A90786FF56}" dt="2025-03-04T14:44:43.212" v="747" actId="1076"/>
          <ac:grpSpMkLst>
            <pc:docMk/>
            <pc:sldMk cId="62157406" sldId="2147480823"/>
            <ac:grpSpMk id="8" creationId="{7A4A42A8-24E3-146D-AAA0-15538238B60C}"/>
          </ac:grpSpMkLst>
        </pc:grpChg>
        <pc:grpChg chg="mod">
          <ac:chgData name="Diego Enrique Islas Marure" userId="42f2b6ca-5958-4a80-b4b2-d346b482c5c9" providerId="ADAL" clId="{ADDA3C2E-40F9-48F6-9549-92A90786FF56}" dt="2025-03-04T14:44:43.212" v="747" actId="1076"/>
          <ac:grpSpMkLst>
            <pc:docMk/>
            <pc:sldMk cId="62157406" sldId="2147480823"/>
            <ac:grpSpMk id="1375" creationId="{499C8496-C75A-4D4A-B810-7DA157A1C7A0}"/>
          </ac:grpSpMkLst>
        </pc:grpChg>
        <pc:grpChg chg="mod">
          <ac:chgData name="Diego Enrique Islas Marure" userId="42f2b6ca-5958-4a80-b4b2-d346b482c5c9" providerId="ADAL" clId="{ADDA3C2E-40F9-48F6-9549-92A90786FF56}" dt="2025-03-04T14:44:43.212" v="747" actId="1076"/>
          <ac:grpSpMkLst>
            <pc:docMk/>
            <pc:sldMk cId="62157406" sldId="2147480823"/>
            <ac:grpSpMk id="1376" creationId="{46016381-A009-0C78-C934-AC230FBA016F}"/>
          </ac:grpSpMkLst>
        </pc:grpChg>
        <pc:picChg chg="add del mod ord">
          <ac:chgData name="Diego Enrique Islas Marure" userId="42f2b6ca-5958-4a80-b4b2-d346b482c5c9" providerId="ADAL" clId="{ADDA3C2E-40F9-48F6-9549-92A90786FF56}" dt="2025-03-04T02:05:01.169" v="220" actId="478"/>
          <ac:picMkLst>
            <pc:docMk/>
            <pc:sldMk cId="62157406" sldId="2147480823"/>
            <ac:picMk id="5" creationId="{34791B28-0DC8-B53E-B813-9A984715A887}"/>
          </ac:picMkLst>
        </pc:picChg>
        <pc:picChg chg="add del mod ord">
          <ac:chgData name="Diego Enrique Islas Marure" userId="42f2b6ca-5958-4a80-b4b2-d346b482c5c9" providerId="ADAL" clId="{ADDA3C2E-40F9-48F6-9549-92A90786FF56}" dt="2025-03-04T02:06:33.992" v="253" actId="478"/>
          <ac:picMkLst>
            <pc:docMk/>
            <pc:sldMk cId="62157406" sldId="2147480823"/>
            <ac:picMk id="6" creationId="{82292195-0A06-8049-85F4-4288B0DC2C12}"/>
          </ac:picMkLst>
        </pc:picChg>
        <pc:picChg chg="add mod">
          <ac:chgData name="Diego Enrique Islas Marure" userId="42f2b6ca-5958-4a80-b4b2-d346b482c5c9" providerId="ADAL" clId="{ADDA3C2E-40F9-48F6-9549-92A90786FF56}" dt="2025-03-04T03:12:51.341" v="542" actId="1076"/>
          <ac:picMkLst>
            <pc:docMk/>
            <pc:sldMk cId="62157406" sldId="2147480823"/>
            <ac:picMk id="6" creationId="{B9241B29-65DF-7889-E7D0-1A22D03F3925}"/>
          </ac:picMkLst>
        </pc:picChg>
        <pc:picChg chg="add del mod">
          <ac:chgData name="Diego Enrique Islas Marure" userId="42f2b6ca-5958-4a80-b4b2-d346b482c5c9" providerId="ADAL" clId="{ADDA3C2E-40F9-48F6-9549-92A90786FF56}" dt="2025-03-04T01:34:55.307" v="6" actId="22"/>
          <ac:picMkLst>
            <pc:docMk/>
            <pc:sldMk cId="62157406" sldId="2147480823"/>
            <ac:picMk id="7" creationId="{90557AAD-8BFC-62B6-FF3A-1D69CA163468}"/>
          </ac:picMkLst>
        </pc:picChg>
        <pc:picChg chg="add del mod">
          <ac:chgData name="Diego Enrique Islas Marure" userId="42f2b6ca-5958-4a80-b4b2-d346b482c5c9" providerId="ADAL" clId="{ADDA3C2E-40F9-48F6-9549-92A90786FF56}" dt="2025-03-04T02:03:13.304" v="201" actId="478"/>
          <ac:picMkLst>
            <pc:docMk/>
            <pc:sldMk cId="62157406" sldId="2147480823"/>
            <ac:picMk id="9" creationId="{60FC029E-99EE-D9FB-A057-F98C7D2043E8}"/>
          </ac:picMkLst>
        </pc:picChg>
        <pc:picChg chg="add mod">
          <ac:chgData name="Diego Enrique Islas Marure" userId="42f2b6ca-5958-4a80-b4b2-d346b482c5c9" providerId="ADAL" clId="{ADDA3C2E-40F9-48F6-9549-92A90786FF56}" dt="2025-03-04T03:12:44.997" v="540" actId="1076"/>
          <ac:picMkLst>
            <pc:docMk/>
            <pc:sldMk cId="62157406" sldId="2147480823"/>
            <ac:picMk id="9" creationId="{B55EB77B-BD53-B7E4-BF3B-06F4BF1D1E37}"/>
          </ac:picMkLst>
        </pc:picChg>
        <pc:picChg chg="add mod">
          <ac:chgData name="Diego Enrique Islas Marure" userId="42f2b6ca-5958-4a80-b4b2-d346b482c5c9" providerId="ADAL" clId="{ADDA3C2E-40F9-48F6-9549-92A90786FF56}" dt="2025-03-04T03:33:59.125" v="716" actId="1076"/>
          <ac:picMkLst>
            <pc:docMk/>
            <pc:sldMk cId="62157406" sldId="2147480823"/>
            <ac:picMk id="12" creationId="{729529A6-283B-EED6-9E52-F5BE0E75B3AB}"/>
          </ac:picMkLst>
        </pc:picChg>
        <pc:picChg chg="add mod modCrop">
          <ac:chgData name="Diego Enrique Islas Marure" userId="42f2b6ca-5958-4a80-b4b2-d346b482c5c9" providerId="ADAL" clId="{ADDA3C2E-40F9-48F6-9549-92A90786FF56}" dt="2025-03-04T14:43:52.071" v="738" actId="1076"/>
          <ac:picMkLst>
            <pc:docMk/>
            <pc:sldMk cId="62157406" sldId="2147480823"/>
            <ac:picMk id="13" creationId="{DEC766F0-6931-82FB-99A9-190634E7ADA8}"/>
          </ac:picMkLst>
        </pc:picChg>
        <pc:picChg chg="add del mod ord">
          <ac:chgData name="Diego Enrique Islas Marure" userId="42f2b6ca-5958-4a80-b4b2-d346b482c5c9" providerId="ADAL" clId="{ADDA3C2E-40F9-48F6-9549-92A90786FF56}" dt="2025-03-04T03:12:34.214" v="538" actId="478"/>
          <ac:picMkLst>
            <pc:docMk/>
            <pc:sldMk cId="62157406" sldId="2147480823"/>
            <ac:picMk id="16" creationId="{CE1C4917-1379-EEB2-1FA4-970F8B647332}"/>
          </ac:picMkLst>
        </pc:picChg>
        <pc:picChg chg="add del mod">
          <ac:chgData name="Diego Enrique Islas Marure" userId="42f2b6ca-5958-4a80-b4b2-d346b482c5c9" providerId="ADAL" clId="{ADDA3C2E-40F9-48F6-9549-92A90786FF56}" dt="2025-03-04T01:42:17.632" v="54" actId="478"/>
          <ac:picMkLst>
            <pc:docMk/>
            <pc:sldMk cId="62157406" sldId="2147480823"/>
            <ac:picMk id="17" creationId="{33EB6B44-286F-27B4-8CD7-CC190FF4743A}"/>
          </ac:picMkLst>
        </pc:picChg>
        <pc:picChg chg="add mod">
          <ac:chgData name="Diego Enrique Islas Marure" userId="42f2b6ca-5958-4a80-b4b2-d346b482c5c9" providerId="ADAL" clId="{ADDA3C2E-40F9-48F6-9549-92A90786FF56}" dt="2025-03-04T02:58:47.902" v="472" actId="1076"/>
          <ac:picMkLst>
            <pc:docMk/>
            <pc:sldMk cId="62157406" sldId="2147480823"/>
            <ac:picMk id="17" creationId="{8DFF5404-11C9-2E99-A63E-4D72FB04E7B0}"/>
          </ac:picMkLst>
        </pc:picChg>
        <pc:picChg chg="add mod">
          <ac:chgData name="Diego Enrique Islas Marure" userId="42f2b6ca-5958-4a80-b4b2-d346b482c5c9" providerId="ADAL" clId="{ADDA3C2E-40F9-48F6-9549-92A90786FF56}" dt="2025-03-04T02:09:09.576" v="267" actId="1076"/>
          <ac:picMkLst>
            <pc:docMk/>
            <pc:sldMk cId="62157406" sldId="2147480823"/>
            <ac:picMk id="18" creationId="{BE42CBD6-B740-509F-FEAA-4CB38C6DBE11}"/>
          </ac:picMkLst>
        </pc:picChg>
        <pc:picChg chg="add mod">
          <ac:chgData name="Diego Enrique Islas Marure" userId="42f2b6ca-5958-4a80-b4b2-d346b482c5c9" providerId="ADAL" clId="{ADDA3C2E-40F9-48F6-9549-92A90786FF56}" dt="2025-03-04T03:29:01.909" v="704" actId="1076"/>
          <ac:picMkLst>
            <pc:docMk/>
            <pc:sldMk cId="62157406" sldId="2147480823"/>
            <ac:picMk id="23" creationId="{09615499-094F-4AFA-3BAF-B5621BBF88D5}"/>
          </ac:picMkLst>
        </pc:picChg>
        <pc:picChg chg="del mod">
          <ac:chgData name="Diego Enrique Islas Marure" userId="42f2b6ca-5958-4a80-b4b2-d346b482c5c9" providerId="ADAL" clId="{ADDA3C2E-40F9-48F6-9549-92A90786FF56}" dt="2025-03-04T03:23:12.173" v="673" actId="478"/>
          <ac:picMkLst>
            <pc:docMk/>
            <pc:sldMk cId="62157406" sldId="2147480823"/>
            <ac:picMk id="23" creationId="{88CEAE30-8A5D-3D67-9B3A-207D6A1DF861}"/>
          </ac:picMkLst>
        </pc:picChg>
        <pc:picChg chg="add del mod">
          <ac:chgData name="Diego Enrique Islas Marure" userId="42f2b6ca-5958-4a80-b4b2-d346b482c5c9" providerId="ADAL" clId="{ADDA3C2E-40F9-48F6-9549-92A90786FF56}" dt="2025-03-04T03:14:58.853" v="577" actId="478"/>
          <ac:picMkLst>
            <pc:docMk/>
            <pc:sldMk cId="62157406" sldId="2147480823"/>
            <ac:picMk id="24" creationId="{245281D4-0EAB-E9D0-4161-B69BB7686EDD}"/>
          </ac:picMkLst>
        </pc:picChg>
        <pc:picChg chg="add del mod">
          <ac:chgData name="Diego Enrique Islas Marure" userId="42f2b6ca-5958-4a80-b4b2-d346b482c5c9" providerId="ADAL" clId="{ADDA3C2E-40F9-48F6-9549-92A90786FF56}" dt="2025-03-04T02:53:05.079" v="461" actId="478"/>
          <ac:picMkLst>
            <pc:docMk/>
            <pc:sldMk cId="62157406" sldId="2147480823"/>
            <ac:picMk id="24" creationId="{BF27405C-4730-51FC-4E2E-6E4C4BEEF495}"/>
          </ac:picMkLst>
        </pc:picChg>
        <pc:picChg chg="add mod">
          <ac:chgData name="Diego Enrique Islas Marure" userId="42f2b6ca-5958-4a80-b4b2-d346b482c5c9" providerId="ADAL" clId="{ADDA3C2E-40F9-48F6-9549-92A90786FF56}" dt="2025-03-04T02:09:16.311" v="269" actId="1076"/>
          <ac:picMkLst>
            <pc:docMk/>
            <pc:sldMk cId="62157406" sldId="2147480823"/>
            <ac:picMk id="26" creationId="{F2526641-2F78-B44F-33A7-AC276FBA1065}"/>
          </ac:picMkLst>
        </pc:picChg>
        <pc:picChg chg="add mod">
          <ac:chgData name="Diego Enrique Islas Marure" userId="42f2b6ca-5958-4a80-b4b2-d346b482c5c9" providerId="ADAL" clId="{ADDA3C2E-40F9-48F6-9549-92A90786FF56}" dt="2025-03-04T02:58:59.997" v="475" actId="1076"/>
          <ac:picMkLst>
            <pc:docMk/>
            <pc:sldMk cId="62157406" sldId="2147480823"/>
            <ac:picMk id="28" creationId="{3E443327-4759-A65F-CB32-88A0BB0D0735}"/>
          </ac:picMkLst>
        </pc:picChg>
        <pc:picChg chg="add mod">
          <ac:chgData name="Diego Enrique Islas Marure" userId="42f2b6ca-5958-4a80-b4b2-d346b482c5c9" providerId="ADAL" clId="{ADDA3C2E-40F9-48F6-9549-92A90786FF56}" dt="2025-03-04T02:59:38.126" v="485" actId="1076"/>
          <ac:picMkLst>
            <pc:docMk/>
            <pc:sldMk cId="62157406" sldId="2147480823"/>
            <ac:picMk id="34" creationId="{86071A2B-FE91-40FB-C6E7-7A0497EF2589}"/>
          </ac:picMkLst>
        </pc:picChg>
        <pc:picChg chg="add mod">
          <ac:chgData name="Diego Enrique Islas Marure" userId="42f2b6ca-5958-4a80-b4b2-d346b482c5c9" providerId="ADAL" clId="{ADDA3C2E-40F9-48F6-9549-92A90786FF56}" dt="2025-03-04T03:30:49.518" v="707" actId="1076"/>
          <ac:picMkLst>
            <pc:docMk/>
            <pc:sldMk cId="62157406" sldId="2147480823"/>
            <ac:picMk id="37" creationId="{C5709539-6F58-BD21-8D9F-A7CDC17AA367}"/>
          </ac:picMkLst>
        </pc:picChg>
        <pc:picChg chg="add del mod">
          <ac:chgData name="Diego Enrique Islas Marure" userId="42f2b6ca-5958-4a80-b4b2-d346b482c5c9" providerId="ADAL" clId="{ADDA3C2E-40F9-48F6-9549-92A90786FF56}" dt="2025-03-04T02:21:52.081" v="364" actId="478"/>
          <ac:picMkLst>
            <pc:docMk/>
            <pc:sldMk cId="62157406" sldId="2147480823"/>
            <ac:picMk id="40" creationId="{00B3018D-1109-66B9-4327-088A43212D04}"/>
          </ac:picMkLst>
        </pc:picChg>
        <pc:picChg chg="add mod ord">
          <ac:chgData name="Diego Enrique Islas Marure" userId="42f2b6ca-5958-4a80-b4b2-d346b482c5c9" providerId="ADAL" clId="{ADDA3C2E-40F9-48F6-9549-92A90786FF56}" dt="2025-03-04T03:25:59.147" v="689" actId="1076"/>
          <ac:picMkLst>
            <pc:docMk/>
            <pc:sldMk cId="62157406" sldId="2147480823"/>
            <ac:picMk id="40" creationId="{CE1169EA-804D-E70A-435D-325E7288E995}"/>
          </ac:picMkLst>
        </pc:picChg>
        <pc:picChg chg="add mod ord">
          <ac:chgData name="Diego Enrique Islas Marure" userId="42f2b6ca-5958-4a80-b4b2-d346b482c5c9" providerId="ADAL" clId="{ADDA3C2E-40F9-48F6-9549-92A90786FF56}" dt="2025-03-04T03:03:18.923" v="494" actId="166"/>
          <ac:picMkLst>
            <pc:docMk/>
            <pc:sldMk cId="62157406" sldId="2147480823"/>
            <ac:picMk id="43" creationId="{8323E5D3-F976-DFF0-6810-7CD49425F2B6}"/>
          </ac:picMkLst>
        </pc:picChg>
        <pc:picChg chg="add mod">
          <ac:chgData name="Diego Enrique Islas Marure" userId="42f2b6ca-5958-4a80-b4b2-d346b482c5c9" providerId="ADAL" clId="{ADDA3C2E-40F9-48F6-9549-92A90786FF56}" dt="2025-03-04T14:44:57.282" v="749" actId="1076"/>
          <ac:picMkLst>
            <pc:docMk/>
            <pc:sldMk cId="62157406" sldId="2147480823"/>
            <ac:picMk id="45" creationId="{BC03CA41-0D37-668B-7CB6-F080C7B0A167}"/>
          </ac:picMkLst>
        </pc:picChg>
        <pc:picChg chg="add mod">
          <ac:chgData name="Diego Enrique Islas Marure" userId="42f2b6ca-5958-4a80-b4b2-d346b482c5c9" providerId="ADAL" clId="{ADDA3C2E-40F9-48F6-9549-92A90786FF56}" dt="2025-03-04T03:30:55.028" v="710" actId="1076"/>
          <ac:picMkLst>
            <pc:docMk/>
            <pc:sldMk cId="62157406" sldId="2147480823"/>
            <ac:picMk id="49" creationId="{F37BC6B6-71B8-DAD6-06D0-C12AE544E932}"/>
          </ac:picMkLst>
        </pc:picChg>
        <pc:picChg chg="add del mod">
          <ac:chgData name="Diego Enrique Islas Marure" userId="42f2b6ca-5958-4a80-b4b2-d346b482c5c9" providerId="ADAL" clId="{ADDA3C2E-40F9-48F6-9549-92A90786FF56}" dt="2025-03-04T02:53:07.462" v="462" actId="478"/>
          <ac:picMkLst>
            <pc:docMk/>
            <pc:sldMk cId="62157406" sldId="2147480823"/>
            <ac:picMk id="50" creationId="{430A5F9C-5203-0D94-35F2-BF88E9578977}"/>
          </ac:picMkLst>
        </pc:picChg>
        <pc:picChg chg="add mod">
          <ac:chgData name="Diego Enrique Islas Marure" userId="42f2b6ca-5958-4a80-b4b2-d346b482c5c9" providerId="ADAL" clId="{ADDA3C2E-40F9-48F6-9549-92A90786FF56}" dt="2025-03-04T03:25:00.451" v="677" actId="1076"/>
          <ac:picMkLst>
            <pc:docMk/>
            <pc:sldMk cId="62157406" sldId="2147480823"/>
            <ac:picMk id="53" creationId="{0AD07735-8976-D4F5-1E69-641C861CFC64}"/>
          </ac:picMkLst>
        </pc:picChg>
        <pc:picChg chg="add mod">
          <ac:chgData name="Diego Enrique Islas Marure" userId="42f2b6ca-5958-4a80-b4b2-d346b482c5c9" providerId="ADAL" clId="{ADDA3C2E-40F9-48F6-9549-92A90786FF56}" dt="2025-03-04T02:40:40.727" v="452" actId="1076"/>
          <ac:picMkLst>
            <pc:docMk/>
            <pc:sldMk cId="62157406" sldId="2147480823"/>
            <ac:picMk id="53" creationId="{653E86EC-43AE-C424-85AA-D9A83943F621}"/>
          </ac:picMkLst>
        </pc:picChg>
        <pc:picChg chg="add mod ord">
          <ac:chgData name="Diego Enrique Islas Marure" userId="42f2b6ca-5958-4a80-b4b2-d346b482c5c9" providerId="ADAL" clId="{ADDA3C2E-40F9-48F6-9549-92A90786FF56}" dt="2025-03-04T03:16:27.798" v="611" actId="1076"/>
          <ac:picMkLst>
            <pc:docMk/>
            <pc:sldMk cId="62157406" sldId="2147480823"/>
            <ac:picMk id="54" creationId="{8B277D59-AC54-28FF-10B5-72B39CC52198}"/>
          </ac:picMkLst>
        </pc:picChg>
        <pc:picChg chg="add mod">
          <ac:chgData name="Diego Enrique Islas Marure" userId="42f2b6ca-5958-4a80-b4b2-d346b482c5c9" providerId="ADAL" clId="{ADDA3C2E-40F9-48F6-9549-92A90786FF56}" dt="2025-03-04T03:12:42.638" v="539" actId="1076"/>
          <ac:picMkLst>
            <pc:docMk/>
            <pc:sldMk cId="62157406" sldId="2147480823"/>
            <ac:picMk id="55" creationId="{2B0D0FDA-9132-CA84-F311-70EE2F9E8194}"/>
          </ac:picMkLst>
        </pc:picChg>
        <pc:picChg chg="add mod">
          <ac:chgData name="Diego Enrique Islas Marure" userId="42f2b6ca-5958-4a80-b4b2-d346b482c5c9" providerId="ADAL" clId="{ADDA3C2E-40F9-48F6-9549-92A90786FF56}" dt="2025-03-04T03:17:04.399" v="615" actId="1076"/>
          <ac:picMkLst>
            <pc:docMk/>
            <pc:sldMk cId="62157406" sldId="2147480823"/>
            <ac:picMk id="57" creationId="{A862DFE5-2E7D-CED0-B2D6-0FCCAE975598}"/>
          </ac:picMkLst>
        </pc:picChg>
        <pc:picChg chg="add mod">
          <ac:chgData name="Diego Enrique Islas Marure" userId="42f2b6ca-5958-4a80-b4b2-d346b482c5c9" providerId="ADAL" clId="{ADDA3C2E-40F9-48F6-9549-92A90786FF56}" dt="2025-03-04T03:18:13.366" v="627" actId="1076"/>
          <ac:picMkLst>
            <pc:docMk/>
            <pc:sldMk cId="62157406" sldId="2147480823"/>
            <ac:picMk id="59" creationId="{C0A03BC8-8C05-77F1-BB29-46EBAF8B50AA}"/>
          </ac:picMkLst>
        </pc:picChg>
        <pc:picChg chg="add del mod">
          <ac:chgData name="Diego Enrique Islas Marure" userId="42f2b6ca-5958-4a80-b4b2-d346b482c5c9" providerId="ADAL" clId="{ADDA3C2E-40F9-48F6-9549-92A90786FF56}" dt="2025-03-04T03:25:27.757" v="686" actId="478"/>
          <ac:picMkLst>
            <pc:docMk/>
            <pc:sldMk cId="62157406" sldId="2147480823"/>
            <ac:picMk id="62" creationId="{DE263D67-9630-4B7C-829B-162E1A633A56}"/>
          </ac:picMkLst>
        </pc:picChg>
        <pc:picChg chg="add mod">
          <ac:chgData name="Diego Enrique Islas Marure" userId="42f2b6ca-5958-4a80-b4b2-d346b482c5c9" providerId="ADAL" clId="{ADDA3C2E-40F9-48F6-9549-92A90786FF56}" dt="2025-03-04T03:33:53.396" v="714" actId="1076"/>
          <ac:picMkLst>
            <pc:docMk/>
            <pc:sldMk cId="62157406" sldId="2147480823"/>
            <ac:picMk id="1345" creationId="{25D31E51-DC7E-2DC5-F504-84989F4EAF95}"/>
          </ac:picMkLst>
        </pc:picChg>
      </pc:sldChg>
      <pc:sldMasterChg chg="modSp modSldLayout">
        <pc:chgData name="Diego Enrique Islas Marure" userId="42f2b6ca-5958-4a80-b4b2-d346b482c5c9" providerId="ADAL" clId="{ADDA3C2E-40F9-48F6-9549-92A90786FF56}" dt="2025-03-04T19:02:50.571" v="759" actId="735"/>
        <pc:sldMasterMkLst>
          <pc:docMk/>
          <pc:sldMasterMk cId="2933118997" sldId="2147483648"/>
        </pc:sldMasterMkLst>
        <pc:sldLayoutChg chg="modSp">
          <pc:chgData name="Diego Enrique Islas Marure" userId="42f2b6ca-5958-4a80-b4b2-d346b482c5c9" providerId="ADAL" clId="{ADDA3C2E-40F9-48F6-9549-92A90786FF56}" dt="2025-03-04T19:02:47.936" v="758" actId="735"/>
          <pc:sldLayoutMkLst>
            <pc:docMk/>
            <pc:sldMasterMk cId="2933118997" sldId="2147483648"/>
            <pc:sldLayoutMk cId="3398174421" sldId="2147483650"/>
          </pc:sldLayoutMkLst>
        </pc:sldLayoutChg>
        <pc:sldLayoutChg chg="modSp">
          <pc:chgData name="Diego Enrique Islas Marure" userId="42f2b6ca-5958-4a80-b4b2-d346b482c5c9" providerId="ADAL" clId="{ADDA3C2E-40F9-48F6-9549-92A90786FF56}" dt="2025-03-04T19:02:46.344" v="757" actId="735"/>
          <pc:sldLayoutMkLst>
            <pc:docMk/>
            <pc:sldMasterMk cId="2933118997" sldId="2147483648"/>
            <pc:sldLayoutMk cId="4280018054" sldId="2147483660"/>
          </pc:sldLayoutMkLst>
        </pc:sldLayoutChg>
        <pc:sldLayoutChg chg="modSp">
          <pc:chgData name="Diego Enrique Islas Marure" userId="42f2b6ca-5958-4a80-b4b2-d346b482c5c9" providerId="ADAL" clId="{ADDA3C2E-40F9-48F6-9549-92A90786FF56}" dt="2025-03-04T19:02:17.541" v="751" actId="735"/>
          <pc:sldLayoutMkLst>
            <pc:docMk/>
            <pc:sldMasterMk cId="2933118997" sldId="2147483648"/>
            <pc:sldLayoutMk cId="199599450" sldId="2147483661"/>
          </pc:sldLayoutMkLst>
        </pc:sldLayoutChg>
        <pc:sldLayoutChg chg="modSp">
          <pc:chgData name="Diego Enrique Islas Marure" userId="42f2b6ca-5958-4a80-b4b2-d346b482c5c9" providerId="ADAL" clId="{ADDA3C2E-40F9-48F6-9549-92A90786FF56}" dt="2025-03-04T19:02:44.378" v="756" actId="735"/>
          <pc:sldLayoutMkLst>
            <pc:docMk/>
            <pc:sldMasterMk cId="2933118997" sldId="2147483648"/>
            <pc:sldLayoutMk cId="2498528809" sldId="2147483664"/>
          </pc:sldLayoutMkLst>
        </pc:sldLayoutChg>
        <pc:sldLayoutChg chg="modSp">
          <pc:chgData name="Diego Enrique Islas Marure" userId="42f2b6ca-5958-4a80-b4b2-d346b482c5c9" providerId="ADAL" clId="{ADDA3C2E-40F9-48F6-9549-92A90786FF56}" dt="2025-03-04T19:02:43.196" v="755" actId="735"/>
          <pc:sldLayoutMkLst>
            <pc:docMk/>
            <pc:sldMasterMk cId="2933118997" sldId="2147483648"/>
            <pc:sldLayoutMk cId="173005858" sldId="2147483727"/>
          </pc:sldLayoutMkLst>
        </pc:sldLayoutChg>
        <pc:sldLayoutChg chg="modSp">
          <pc:chgData name="Diego Enrique Islas Marure" userId="42f2b6ca-5958-4a80-b4b2-d346b482c5c9" providerId="ADAL" clId="{ADDA3C2E-40F9-48F6-9549-92A90786FF56}" dt="2025-03-04T19:02:30.162" v="754" actId="735"/>
          <pc:sldLayoutMkLst>
            <pc:docMk/>
            <pc:sldMasterMk cId="2933118997" sldId="2147483648"/>
            <pc:sldLayoutMk cId="4202992591" sldId="2147483734"/>
          </pc:sldLayoutMkLst>
        </pc:sldLayoutChg>
        <pc:sldLayoutChg chg="modSp">
          <pc:chgData name="Diego Enrique Islas Marure" userId="42f2b6ca-5958-4a80-b4b2-d346b482c5c9" providerId="ADAL" clId="{ADDA3C2E-40F9-48F6-9549-92A90786FF56}" dt="2025-03-04T19:02:29.243" v="753" actId="735"/>
          <pc:sldLayoutMkLst>
            <pc:docMk/>
            <pc:sldMasterMk cId="2933118997" sldId="2147483648"/>
            <pc:sldLayoutMk cId="1730813554" sldId="2147483735"/>
          </pc:sldLayoutMkLst>
        </pc:sldLayoutChg>
        <pc:sldLayoutChg chg="modSp">
          <pc:chgData name="Diego Enrique Islas Marure" userId="42f2b6ca-5958-4a80-b4b2-d346b482c5c9" providerId="ADAL" clId="{ADDA3C2E-40F9-48F6-9549-92A90786FF56}" dt="2025-03-04T19:02:27.896" v="752" actId="735"/>
          <pc:sldLayoutMkLst>
            <pc:docMk/>
            <pc:sldMasterMk cId="2933118997" sldId="2147483648"/>
            <pc:sldLayoutMk cId="3790641666" sldId="2147483736"/>
          </pc:sldLayoutMkLst>
        </pc:sldLayoutChg>
      </pc:sldMasterChg>
    </pc:docChg>
  </pc:docChgLst>
  <pc:docChgLst>
    <pc:chgData name="Leonardo Torres Rendón" userId="5519c58d-5575-454c-9a1e-42e16f3cfec5" providerId="ADAL" clId="{66306716-014A-4B3A-83A0-72C026C7F721}"/>
    <pc:docChg chg="undo custSel addSld modSld modSection">
      <pc:chgData name="Leonardo Torres Rendón" userId="5519c58d-5575-454c-9a1e-42e16f3cfec5" providerId="ADAL" clId="{66306716-014A-4B3A-83A0-72C026C7F721}" dt="2025-03-03T23:59:04.766" v="2983" actId="1076"/>
      <pc:docMkLst>
        <pc:docMk/>
      </pc:docMkLst>
      <pc:sldChg chg="addSp delSp modSp mod">
        <pc:chgData name="Leonardo Torres Rendón" userId="5519c58d-5575-454c-9a1e-42e16f3cfec5" providerId="ADAL" clId="{66306716-014A-4B3A-83A0-72C026C7F721}" dt="2025-03-03T23:32:56.438" v="2789" actId="1076"/>
        <pc:sldMkLst>
          <pc:docMk/>
          <pc:sldMk cId="4016937299" sldId="2147480813"/>
        </pc:sldMkLst>
        <pc:spChg chg="add mod">
          <ac:chgData name="Leonardo Torres Rendón" userId="5519c58d-5575-454c-9a1e-42e16f3cfec5" providerId="ADAL" clId="{66306716-014A-4B3A-83A0-72C026C7F721}" dt="2025-03-03T22:34:52.070" v="2548" actId="1076"/>
          <ac:spMkLst>
            <pc:docMk/>
            <pc:sldMk cId="4016937299" sldId="2147480813"/>
            <ac:spMk id="2" creationId="{BD890251-E079-21DB-C3A4-BDF69B3BA41B}"/>
          </ac:spMkLst>
        </pc:spChg>
        <pc:spChg chg="add mod">
          <ac:chgData name="Leonardo Torres Rendón" userId="5519c58d-5575-454c-9a1e-42e16f3cfec5" providerId="ADAL" clId="{66306716-014A-4B3A-83A0-72C026C7F721}" dt="2025-03-03T22:34:53.812" v="2549" actId="571"/>
          <ac:spMkLst>
            <pc:docMk/>
            <pc:sldMk cId="4016937299" sldId="2147480813"/>
            <ac:spMk id="6" creationId="{F312872F-2463-47B2-7D80-F0775EC81C8F}"/>
          </ac:spMkLst>
        </pc:spChg>
        <pc:spChg chg="add mod">
          <ac:chgData name="Leonardo Torres Rendón" userId="5519c58d-5575-454c-9a1e-42e16f3cfec5" providerId="ADAL" clId="{66306716-014A-4B3A-83A0-72C026C7F721}" dt="2025-03-03T23:30:57.575" v="2736" actId="1076"/>
          <ac:spMkLst>
            <pc:docMk/>
            <pc:sldMk cId="4016937299" sldId="2147480813"/>
            <ac:spMk id="44" creationId="{0A65AD7F-9800-B76F-0693-0BE27EAE24C9}"/>
          </ac:spMkLst>
        </pc:spChg>
        <pc:spChg chg="mod">
          <ac:chgData name="Leonardo Torres Rendón" userId="5519c58d-5575-454c-9a1e-42e16f3cfec5" providerId="ADAL" clId="{66306716-014A-4B3A-83A0-72C026C7F721}" dt="2025-03-03T22:36:51.578" v="2550" actId="2085"/>
          <ac:spMkLst>
            <pc:docMk/>
            <pc:sldMk cId="4016937299" sldId="2147480813"/>
            <ac:spMk id="61" creationId="{838453C8-955F-9F22-91AC-C3B5BCB33894}"/>
          </ac:spMkLst>
        </pc:spChg>
        <pc:spChg chg="mod">
          <ac:chgData name="Leonardo Torres Rendón" userId="5519c58d-5575-454c-9a1e-42e16f3cfec5" providerId="ADAL" clId="{66306716-014A-4B3A-83A0-72C026C7F721}" dt="2025-03-03T23:28:49.179" v="2730" actId="693"/>
          <ac:spMkLst>
            <pc:docMk/>
            <pc:sldMk cId="4016937299" sldId="2147480813"/>
            <ac:spMk id="1347" creationId="{AB58E6E3-9B82-FBFC-1A7E-15444C97661F}"/>
          </ac:spMkLst>
        </pc:spChg>
        <pc:spChg chg="add mod">
          <ac:chgData name="Leonardo Torres Rendón" userId="5519c58d-5575-454c-9a1e-42e16f3cfec5" providerId="ADAL" clId="{66306716-014A-4B3A-83A0-72C026C7F721}" dt="2025-03-03T23:32:56.438" v="2789" actId="1076"/>
          <ac:spMkLst>
            <pc:docMk/>
            <pc:sldMk cId="4016937299" sldId="2147480813"/>
            <ac:spMk id="1350" creationId="{D35D95D1-0C72-DAC8-25A3-836F018CE867}"/>
          </ac:spMkLst>
        </pc:spChg>
        <pc:picChg chg="add mod">
          <ac:chgData name="Leonardo Torres Rendón" userId="5519c58d-5575-454c-9a1e-42e16f3cfec5" providerId="ADAL" clId="{66306716-014A-4B3A-83A0-72C026C7F721}" dt="2025-03-03T23:30:57.575" v="2736" actId="1076"/>
          <ac:picMkLst>
            <pc:docMk/>
            <pc:sldMk cId="4016937299" sldId="2147480813"/>
            <ac:picMk id="18" creationId="{9D010F17-E5E1-E4BA-941A-96F67142EFC7}"/>
          </ac:picMkLst>
        </pc:picChg>
        <pc:picChg chg="add mod">
          <ac:chgData name="Leonardo Torres Rendón" userId="5519c58d-5575-454c-9a1e-42e16f3cfec5" providerId="ADAL" clId="{66306716-014A-4B3A-83A0-72C026C7F721}" dt="2025-03-03T23:32:31.406" v="2739" actId="14100"/>
          <ac:picMkLst>
            <pc:docMk/>
            <pc:sldMk cId="4016937299" sldId="2147480813"/>
            <ac:picMk id="1349" creationId="{BC6909BE-2A51-2075-000D-B88429C98832}"/>
          </ac:picMkLst>
        </pc:picChg>
      </pc:sldChg>
      <pc:sldChg chg="modSp mod">
        <pc:chgData name="Leonardo Torres Rendón" userId="5519c58d-5575-454c-9a1e-42e16f3cfec5" providerId="ADAL" clId="{66306716-014A-4B3A-83A0-72C026C7F721}" dt="2025-03-03T17:36:58.027" v="5" actId="20577"/>
        <pc:sldMkLst>
          <pc:docMk/>
          <pc:sldMk cId="73796801" sldId="2147480819"/>
        </pc:sldMkLst>
        <pc:spChg chg="mod">
          <ac:chgData name="Leonardo Torres Rendón" userId="5519c58d-5575-454c-9a1e-42e16f3cfec5" providerId="ADAL" clId="{66306716-014A-4B3A-83A0-72C026C7F721}" dt="2025-03-03T17:36:58.027" v="5" actId="20577"/>
          <ac:spMkLst>
            <pc:docMk/>
            <pc:sldMk cId="73796801" sldId="2147480819"/>
            <ac:spMk id="6" creationId="{D61336D5-7B23-0C4F-33B8-0F209C292EB0}"/>
          </ac:spMkLst>
        </pc:spChg>
      </pc:sldChg>
      <pc:sldChg chg="addSp delSp modSp mod">
        <pc:chgData name="Leonardo Torres Rendón" userId="5519c58d-5575-454c-9a1e-42e16f3cfec5" providerId="ADAL" clId="{66306716-014A-4B3A-83A0-72C026C7F721}" dt="2025-03-03T22:27:51.391" v="2534" actId="1076"/>
        <pc:sldMkLst>
          <pc:docMk/>
          <pc:sldMk cId="2244406975" sldId="2147480820"/>
        </pc:sldMkLst>
        <pc:spChg chg="mod ord">
          <ac:chgData name="Leonardo Torres Rendón" userId="5519c58d-5575-454c-9a1e-42e16f3cfec5" providerId="ADAL" clId="{66306716-014A-4B3A-83A0-72C026C7F721}" dt="2025-03-03T19:17:11.828" v="1799"/>
          <ac:spMkLst>
            <pc:docMk/>
            <pc:sldMk cId="2244406975" sldId="2147480820"/>
            <ac:spMk id="3" creationId="{B5A57FC7-87BF-1279-AFAC-9F8F464F09F5}"/>
          </ac:spMkLst>
        </pc:spChg>
        <pc:spChg chg="mod ord">
          <ac:chgData name="Leonardo Torres Rendón" userId="5519c58d-5575-454c-9a1e-42e16f3cfec5" providerId="ADAL" clId="{66306716-014A-4B3A-83A0-72C026C7F721}" dt="2025-03-03T19:17:11.828" v="1797"/>
          <ac:spMkLst>
            <pc:docMk/>
            <pc:sldMk cId="2244406975" sldId="2147480820"/>
            <ac:spMk id="7" creationId="{00000000-0000-0000-0000-000000000000}"/>
          </ac:spMkLst>
        </pc:spChg>
        <pc:spChg chg="mod ord">
          <ac:chgData name="Leonardo Torres Rendón" userId="5519c58d-5575-454c-9a1e-42e16f3cfec5" providerId="ADAL" clId="{66306716-014A-4B3A-83A0-72C026C7F721}" dt="2025-03-03T19:43:45.568" v="2294" actId="1076"/>
          <ac:spMkLst>
            <pc:docMk/>
            <pc:sldMk cId="2244406975" sldId="2147480820"/>
            <ac:spMk id="11" creationId="{F2651357-1117-EC58-F446-FE86900D1BB0}"/>
          </ac:spMkLst>
        </pc:spChg>
        <pc:spChg chg="add mod ord">
          <ac:chgData name="Leonardo Torres Rendón" userId="5519c58d-5575-454c-9a1e-42e16f3cfec5" providerId="ADAL" clId="{66306716-014A-4B3A-83A0-72C026C7F721}" dt="2025-03-03T19:18:45.858" v="1909" actId="164"/>
          <ac:spMkLst>
            <pc:docMk/>
            <pc:sldMk cId="2244406975" sldId="2147480820"/>
            <ac:spMk id="12" creationId="{50EF27F1-6C3A-CE4A-51B6-B3E5297B6998}"/>
          </ac:spMkLst>
        </pc:spChg>
        <pc:spChg chg="add mod ord">
          <ac:chgData name="Leonardo Torres Rendón" userId="5519c58d-5575-454c-9a1e-42e16f3cfec5" providerId="ADAL" clId="{66306716-014A-4B3A-83A0-72C026C7F721}" dt="2025-03-03T19:18:49.437" v="1911" actId="164"/>
          <ac:spMkLst>
            <pc:docMk/>
            <pc:sldMk cId="2244406975" sldId="2147480820"/>
            <ac:spMk id="14" creationId="{A774636E-7DFD-49AF-A4A1-057CC7507DAD}"/>
          </ac:spMkLst>
        </pc:spChg>
        <pc:spChg chg="add mod ord">
          <ac:chgData name="Leonardo Torres Rendón" userId="5519c58d-5575-454c-9a1e-42e16f3cfec5" providerId="ADAL" clId="{66306716-014A-4B3A-83A0-72C026C7F721}" dt="2025-03-03T19:15:13.693" v="1452" actId="207"/>
          <ac:spMkLst>
            <pc:docMk/>
            <pc:sldMk cId="2244406975" sldId="2147480820"/>
            <ac:spMk id="25" creationId="{3AF6181A-B4A3-A7E4-FC6E-42AE1DB7DEFB}"/>
          </ac:spMkLst>
        </pc:spChg>
        <pc:spChg chg="mod ord topLvl">
          <ac:chgData name="Leonardo Torres Rendón" userId="5519c58d-5575-454c-9a1e-42e16f3cfec5" providerId="ADAL" clId="{66306716-014A-4B3A-83A0-72C026C7F721}" dt="2025-03-03T19:15:55.172" v="1692" actId="164"/>
          <ac:spMkLst>
            <pc:docMk/>
            <pc:sldMk cId="2244406975" sldId="2147480820"/>
            <ac:spMk id="28" creationId="{96BC65C7-262E-8E9F-B4ED-22EB81A78824}"/>
          </ac:spMkLst>
        </pc:spChg>
        <pc:spChg chg="mod">
          <ac:chgData name="Leonardo Torres Rendón" userId="5519c58d-5575-454c-9a1e-42e16f3cfec5" providerId="ADAL" clId="{66306716-014A-4B3A-83A0-72C026C7F721}" dt="2025-03-03T20:16:49.085" v="2435" actId="164"/>
          <ac:spMkLst>
            <pc:docMk/>
            <pc:sldMk cId="2244406975" sldId="2147480820"/>
            <ac:spMk id="29" creationId="{00D1A819-E2C1-1F7B-5BEC-33C4E5BC02B8}"/>
          </ac:spMkLst>
        </pc:spChg>
        <pc:spChg chg="add mod ord">
          <ac:chgData name="Leonardo Torres Rendón" userId="5519c58d-5575-454c-9a1e-42e16f3cfec5" providerId="ADAL" clId="{66306716-014A-4B3A-83A0-72C026C7F721}" dt="2025-03-03T19:16:25.885" v="1779" actId="164"/>
          <ac:spMkLst>
            <pc:docMk/>
            <pc:sldMk cId="2244406975" sldId="2147480820"/>
            <ac:spMk id="31" creationId="{EC985DD0-7581-CDF3-3404-44365F2F768B}"/>
          </ac:spMkLst>
        </pc:spChg>
        <pc:spChg chg="add mod ord">
          <ac:chgData name="Leonardo Torres Rendón" userId="5519c58d-5575-454c-9a1e-42e16f3cfec5" providerId="ADAL" clId="{66306716-014A-4B3A-83A0-72C026C7F721}" dt="2025-03-03T19:37:05.373" v="2174" actId="1035"/>
          <ac:spMkLst>
            <pc:docMk/>
            <pc:sldMk cId="2244406975" sldId="2147480820"/>
            <ac:spMk id="33" creationId="{F77C60F9-72EC-1A65-69E0-7B212336096D}"/>
          </ac:spMkLst>
        </pc:spChg>
        <pc:spChg chg="mod ord">
          <ac:chgData name="Leonardo Torres Rendón" userId="5519c58d-5575-454c-9a1e-42e16f3cfec5" providerId="ADAL" clId="{66306716-014A-4B3A-83A0-72C026C7F721}" dt="2025-03-03T19:17:11.835" v="1837"/>
          <ac:spMkLst>
            <pc:docMk/>
            <pc:sldMk cId="2244406975" sldId="2147480820"/>
            <ac:spMk id="39" creationId="{A37DCB9A-D6E0-8CBA-8FD7-AEC59448750A}"/>
          </ac:spMkLst>
        </pc:spChg>
        <pc:spChg chg="add mod ord">
          <ac:chgData name="Leonardo Torres Rendón" userId="5519c58d-5575-454c-9a1e-42e16f3cfec5" providerId="ADAL" clId="{66306716-014A-4B3A-83A0-72C026C7F721}" dt="2025-03-03T19:18:42.822" v="1907" actId="164"/>
          <ac:spMkLst>
            <pc:docMk/>
            <pc:sldMk cId="2244406975" sldId="2147480820"/>
            <ac:spMk id="40" creationId="{36079BD2-017A-F872-6F7F-60705051DD00}"/>
          </ac:spMkLst>
        </pc:spChg>
        <pc:spChg chg="add mod topLvl">
          <ac:chgData name="Leonardo Torres Rendón" userId="5519c58d-5575-454c-9a1e-42e16f3cfec5" providerId="ADAL" clId="{66306716-014A-4B3A-83A0-72C026C7F721}" dt="2025-03-03T20:17:44.638" v="2440" actId="165"/>
          <ac:spMkLst>
            <pc:docMk/>
            <pc:sldMk cId="2244406975" sldId="2147480820"/>
            <ac:spMk id="41" creationId="{D9F9277A-0EB8-1CAA-A2EA-6D2055248F1E}"/>
          </ac:spMkLst>
        </pc:spChg>
        <pc:spChg chg="add mod topLvl">
          <ac:chgData name="Leonardo Torres Rendón" userId="5519c58d-5575-454c-9a1e-42e16f3cfec5" providerId="ADAL" clId="{66306716-014A-4B3A-83A0-72C026C7F721}" dt="2025-03-03T19:38:58.282" v="2201" actId="2711"/>
          <ac:spMkLst>
            <pc:docMk/>
            <pc:sldMk cId="2244406975" sldId="2147480820"/>
            <ac:spMk id="42" creationId="{D045A323-2A88-69B6-DB0C-98B17973D12B}"/>
          </ac:spMkLst>
        </pc:spChg>
        <pc:spChg chg="add mod topLvl">
          <ac:chgData name="Leonardo Torres Rendón" userId="5519c58d-5575-454c-9a1e-42e16f3cfec5" providerId="ADAL" clId="{66306716-014A-4B3A-83A0-72C026C7F721}" dt="2025-03-03T20:17:44.638" v="2440" actId="165"/>
          <ac:spMkLst>
            <pc:docMk/>
            <pc:sldMk cId="2244406975" sldId="2147480820"/>
            <ac:spMk id="43" creationId="{1EACF689-6203-6ADA-AFEC-EDAB7EE06E08}"/>
          </ac:spMkLst>
        </pc:spChg>
        <pc:spChg chg="add mod">
          <ac:chgData name="Leonardo Torres Rendón" userId="5519c58d-5575-454c-9a1e-42e16f3cfec5" providerId="ADAL" clId="{66306716-014A-4B3A-83A0-72C026C7F721}" dt="2025-03-03T20:16:49.085" v="2435" actId="164"/>
          <ac:spMkLst>
            <pc:docMk/>
            <pc:sldMk cId="2244406975" sldId="2147480820"/>
            <ac:spMk id="46" creationId="{639EE123-38E2-91BC-ABCC-413E08C18D75}"/>
          </ac:spMkLst>
        </pc:spChg>
        <pc:spChg chg="add mod">
          <ac:chgData name="Leonardo Torres Rendón" userId="5519c58d-5575-454c-9a1e-42e16f3cfec5" providerId="ADAL" clId="{66306716-014A-4B3A-83A0-72C026C7F721}" dt="2025-03-03T19:28:33.414" v="1985" actId="1076"/>
          <ac:spMkLst>
            <pc:docMk/>
            <pc:sldMk cId="2244406975" sldId="2147480820"/>
            <ac:spMk id="49" creationId="{59A293D4-2130-A146-5935-81CA4546EF76}"/>
          </ac:spMkLst>
        </pc:spChg>
        <pc:spChg chg="mod">
          <ac:chgData name="Leonardo Torres Rendón" userId="5519c58d-5575-454c-9a1e-42e16f3cfec5" providerId="ADAL" clId="{66306716-014A-4B3A-83A0-72C026C7F721}" dt="2025-03-03T18:39:26.804" v="842" actId="165"/>
          <ac:spMkLst>
            <pc:docMk/>
            <pc:sldMk cId="2244406975" sldId="2147480820"/>
            <ac:spMk id="51" creationId="{63969C38-2DEB-EA8E-B4B2-9C54A9D5C5B5}"/>
          </ac:spMkLst>
        </pc:spChg>
        <pc:spChg chg="mod topLvl">
          <ac:chgData name="Leonardo Torres Rendón" userId="5519c58d-5575-454c-9a1e-42e16f3cfec5" providerId="ADAL" clId="{66306716-014A-4B3A-83A0-72C026C7F721}" dt="2025-03-03T20:17:44.638" v="2440" actId="165"/>
          <ac:spMkLst>
            <pc:docMk/>
            <pc:sldMk cId="2244406975" sldId="2147480820"/>
            <ac:spMk id="53" creationId="{8629B2B2-445E-44EE-5997-D67586EEEBFB}"/>
          </ac:spMkLst>
        </pc:spChg>
        <pc:spChg chg="add mod">
          <ac:chgData name="Leonardo Torres Rendón" userId="5519c58d-5575-454c-9a1e-42e16f3cfec5" providerId="ADAL" clId="{66306716-014A-4B3A-83A0-72C026C7F721}" dt="2025-03-03T20:16:39.124" v="2432" actId="165"/>
          <ac:spMkLst>
            <pc:docMk/>
            <pc:sldMk cId="2244406975" sldId="2147480820"/>
            <ac:spMk id="55" creationId="{E0E4F469-A114-D638-9E51-958B4095EC84}"/>
          </ac:spMkLst>
        </pc:spChg>
        <pc:spChg chg="add mod">
          <ac:chgData name="Leonardo Torres Rendón" userId="5519c58d-5575-454c-9a1e-42e16f3cfec5" providerId="ADAL" clId="{66306716-014A-4B3A-83A0-72C026C7F721}" dt="2025-03-03T20:16:49.085" v="2435" actId="164"/>
          <ac:spMkLst>
            <pc:docMk/>
            <pc:sldMk cId="2244406975" sldId="2147480820"/>
            <ac:spMk id="62" creationId="{327614C9-E674-8D8B-4BA1-741566E6F55A}"/>
          </ac:spMkLst>
        </pc:spChg>
        <pc:spChg chg="mod ord topLvl">
          <ac:chgData name="Leonardo Torres Rendón" userId="5519c58d-5575-454c-9a1e-42e16f3cfec5" providerId="ADAL" clId="{66306716-014A-4B3A-83A0-72C026C7F721}" dt="2025-03-03T21:38:42.687" v="2494" actId="12789"/>
          <ac:spMkLst>
            <pc:docMk/>
            <pc:sldMk cId="2244406975" sldId="2147480820"/>
            <ac:spMk id="1347" creationId="{ED67F92B-4187-2E08-EB33-36152AAC055D}"/>
          </ac:spMkLst>
        </pc:spChg>
        <pc:spChg chg="add mod topLvl">
          <ac:chgData name="Leonardo Torres Rendón" userId="5519c58d-5575-454c-9a1e-42e16f3cfec5" providerId="ADAL" clId="{66306716-014A-4B3A-83A0-72C026C7F721}" dt="2025-03-03T20:16:51.430" v="2436" actId="164"/>
          <ac:spMkLst>
            <pc:docMk/>
            <pc:sldMk cId="2244406975" sldId="2147480820"/>
            <ac:spMk id="1348" creationId="{0340ACBC-69E3-4F23-F881-5ADA8249F3EE}"/>
          </ac:spMkLst>
        </pc:spChg>
        <pc:spChg chg="add mod topLvl">
          <ac:chgData name="Leonardo Torres Rendón" userId="5519c58d-5575-454c-9a1e-42e16f3cfec5" providerId="ADAL" clId="{66306716-014A-4B3A-83A0-72C026C7F721}" dt="2025-03-03T20:16:51.430" v="2436" actId="164"/>
          <ac:spMkLst>
            <pc:docMk/>
            <pc:sldMk cId="2244406975" sldId="2147480820"/>
            <ac:spMk id="1350" creationId="{86A96FE3-4DD4-D6E1-D649-D889B3373E6F}"/>
          </ac:spMkLst>
        </pc:spChg>
        <pc:spChg chg="mod topLvl">
          <ac:chgData name="Leonardo Torres Rendón" userId="5519c58d-5575-454c-9a1e-42e16f3cfec5" providerId="ADAL" clId="{66306716-014A-4B3A-83A0-72C026C7F721}" dt="2025-03-03T19:49:37.890" v="2386" actId="14100"/>
          <ac:spMkLst>
            <pc:docMk/>
            <pc:sldMk cId="2244406975" sldId="2147480820"/>
            <ac:spMk id="1356" creationId="{3BD6210E-2764-DA71-0334-EAC7E754F980}"/>
          </ac:spMkLst>
        </pc:spChg>
        <pc:spChg chg="mod">
          <ac:chgData name="Leonardo Torres Rendón" userId="5519c58d-5575-454c-9a1e-42e16f3cfec5" providerId="ADAL" clId="{66306716-014A-4B3A-83A0-72C026C7F721}" dt="2025-03-03T19:49:15.631" v="2380" actId="165"/>
          <ac:spMkLst>
            <pc:docMk/>
            <pc:sldMk cId="2244406975" sldId="2147480820"/>
            <ac:spMk id="1380" creationId="{4C82C994-9CE0-DDC9-D192-275F06024F71}"/>
          </ac:spMkLst>
        </pc:spChg>
        <pc:spChg chg="mod">
          <ac:chgData name="Leonardo Torres Rendón" userId="5519c58d-5575-454c-9a1e-42e16f3cfec5" providerId="ADAL" clId="{66306716-014A-4B3A-83A0-72C026C7F721}" dt="2025-03-03T19:49:15.631" v="2380" actId="165"/>
          <ac:spMkLst>
            <pc:docMk/>
            <pc:sldMk cId="2244406975" sldId="2147480820"/>
            <ac:spMk id="1382" creationId="{CD2C9DA4-43BD-8557-24BD-3BFB02CE1AE6}"/>
          </ac:spMkLst>
        </pc:spChg>
        <pc:spChg chg="mod topLvl">
          <ac:chgData name="Leonardo Torres Rendón" userId="5519c58d-5575-454c-9a1e-42e16f3cfec5" providerId="ADAL" clId="{66306716-014A-4B3A-83A0-72C026C7F721}" dt="2025-03-03T20:17:44.638" v="2440" actId="165"/>
          <ac:spMkLst>
            <pc:docMk/>
            <pc:sldMk cId="2244406975" sldId="2147480820"/>
            <ac:spMk id="1384" creationId="{EB280DE0-E39C-4584-A7DB-9C393B14936A}"/>
          </ac:spMkLst>
        </pc:spChg>
        <pc:spChg chg="add mod">
          <ac:chgData name="Leonardo Torres Rendón" userId="5519c58d-5575-454c-9a1e-42e16f3cfec5" providerId="ADAL" clId="{66306716-014A-4B3A-83A0-72C026C7F721}" dt="2025-03-03T18:39:27.415" v="843" actId="165"/>
          <ac:spMkLst>
            <pc:docMk/>
            <pc:sldMk cId="2244406975" sldId="2147480820"/>
            <ac:spMk id="1386" creationId="{8B5872B5-A6DA-5C37-E4A3-C011E90FF908}"/>
          </ac:spMkLst>
        </pc:spChg>
        <pc:spChg chg="mod">
          <ac:chgData name="Leonardo Torres Rendón" userId="5519c58d-5575-454c-9a1e-42e16f3cfec5" providerId="ADAL" clId="{66306716-014A-4B3A-83A0-72C026C7F721}" dt="2025-03-03T19:49:15.631" v="2380" actId="165"/>
          <ac:spMkLst>
            <pc:docMk/>
            <pc:sldMk cId="2244406975" sldId="2147480820"/>
            <ac:spMk id="1389" creationId="{3F055954-2F2A-EC54-24CC-FB8E7296E63B}"/>
          </ac:spMkLst>
        </pc:spChg>
        <pc:spChg chg="mod ord topLvl">
          <ac:chgData name="Leonardo Torres Rendón" userId="5519c58d-5575-454c-9a1e-42e16f3cfec5" providerId="ADAL" clId="{66306716-014A-4B3A-83A0-72C026C7F721}" dt="2025-03-03T18:39:25.951" v="841" actId="165"/>
          <ac:spMkLst>
            <pc:docMk/>
            <pc:sldMk cId="2244406975" sldId="2147480820"/>
            <ac:spMk id="1390" creationId="{4C4E58DD-452F-6D25-81A8-E48B4D502A3A}"/>
          </ac:spMkLst>
        </pc:spChg>
        <pc:spChg chg="mod">
          <ac:chgData name="Leonardo Torres Rendón" userId="5519c58d-5575-454c-9a1e-42e16f3cfec5" providerId="ADAL" clId="{66306716-014A-4B3A-83A0-72C026C7F721}" dt="2025-03-03T20:17:44.638" v="2440" actId="165"/>
          <ac:spMkLst>
            <pc:docMk/>
            <pc:sldMk cId="2244406975" sldId="2147480820"/>
            <ac:spMk id="1392" creationId="{03B82AFC-F8E9-EDC5-C5A4-022B0818946D}"/>
          </ac:spMkLst>
        </pc:spChg>
        <pc:spChg chg="add mod ord">
          <ac:chgData name="Leonardo Torres Rendón" userId="5519c58d-5575-454c-9a1e-42e16f3cfec5" providerId="ADAL" clId="{66306716-014A-4B3A-83A0-72C026C7F721}" dt="2025-03-03T20:17:44.638" v="2440" actId="165"/>
          <ac:spMkLst>
            <pc:docMk/>
            <pc:sldMk cId="2244406975" sldId="2147480820"/>
            <ac:spMk id="1394" creationId="{F9881DE2-DC39-D8E3-253F-C29EE3949EF0}"/>
          </ac:spMkLst>
        </pc:spChg>
        <pc:spChg chg="add mod topLvl">
          <ac:chgData name="Leonardo Torres Rendón" userId="5519c58d-5575-454c-9a1e-42e16f3cfec5" providerId="ADAL" clId="{66306716-014A-4B3A-83A0-72C026C7F721}" dt="2025-03-03T18:50:58.573" v="967" actId="2711"/>
          <ac:spMkLst>
            <pc:docMk/>
            <pc:sldMk cId="2244406975" sldId="2147480820"/>
            <ac:spMk id="1397" creationId="{972272E2-6BC7-5346-2AB5-F23AABAAB216}"/>
          </ac:spMkLst>
        </pc:spChg>
        <pc:spChg chg="add mod topLvl">
          <ac:chgData name="Leonardo Torres Rendón" userId="5519c58d-5575-454c-9a1e-42e16f3cfec5" providerId="ADAL" clId="{66306716-014A-4B3A-83A0-72C026C7F721}" dt="2025-03-03T18:51:19.356" v="981" actId="20577"/>
          <ac:spMkLst>
            <pc:docMk/>
            <pc:sldMk cId="2244406975" sldId="2147480820"/>
            <ac:spMk id="1398" creationId="{B5821E94-94CD-930A-4D51-F2BD15172465}"/>
          </ac:spMkLst>
        </pc:spChg>
        <pc:spChg chg="add mod topLvl">
          <ac:chgData name="Leonardo Torres Rendón" userId="5519c58d-5575-454c-9a1e-42e16f3cfec5" providerId="ADAL" clId="{66306716-014A-4B3A-83A0-72C026C7F721}" dt="2025-03-03T20:17:44.638" v="2440" actId="165"/>
          <ac:spMkLst>
            <pc:docMk/>
            <pc:sldMk cId="2244406975" sldId="2147480820"/>
            <ac:spMk id="1399" creationId="{5FA6E818-93DE-98B4-ACE4-3A828162910A}"/>
          </ac:spMkLst>
        </pc:spChg>
        <pc:spChg chg="mod topLvl">
          <ac:chgData name="Leonardo Torres Rendón" userId="5519c58d-5575-454c-9a1e-42e16f3cfec5" providerId="ADAL" clId="{66306716-014A-4B3A-83A0-72C026C7F721}" dt="2025-03-03T19:49:47.265" v="2389" actId="164"/>
          <ac:spMkLst>
            <pc:docMk/>
            <pc:sldMk cId="2244406975" sldId="2147480820"/>
            <ac:spMk id="1401" creationId="{43079E6A-5D8C-8094-D423-ECD3741D3B92}"/>
          </ac:spMkLst>
        </pc:spChg>
        <pc:spChg chg="add mod topLvl">
          <ac:chgData name="Leonardo Torres Rendón" userId="5519c58d-5575-454c-9a1e-42e16f3cfec5" providerId="ADAL" clId="{66306716-014A-4B3A-83A0-72C026C7F721}" dt="2025-03-03T20:17:44.638" v="2440" actId="165"/>
          <ac:spMkLst>
            <pc:docMk/>
            <pc:sldMk cId="2244406975" sldId="2147480820"/>
            <ac:spMk id="1404" creationId="{4F7EF5D1-0070-0142-2C60-A926806C6265}"/>
          </ac:spMkLst>
        </pc:spChg>
        <pc:spChg chg="add mod topLvl">
          <ac:chgData name="Leonardo Torres Rendón" userId="5519c58d-5575-454c-9a1e-42e16f3cfec5" providerId="ADAL" clId="{66306716-014A-4B3A-83A0-72C026C7F721}" dt="2025-03-03T19:25:51.165" v="1977" actId="207"/>
          <ac:spMkLst>
            <pc:docMk/>
            <pc:sldMk cId="2244406975" sldId="2147480820"/>
            <ac:spMk id="1405" creationId="{2486BAB2-F846-CDEB-0A94-96FE856298E7}"/>
          </ac:spMkLst>
        </pc:spChg>
        <pc:spChg chg="add mod ord topLvl">
          <ac:chgData name="Leonardo Torres Rendón" userId="5519c58d-5575-454c-9a1e-42e16f3cfec5" providerId="ADAL" clId="{66306716-014A-4B3A-83A0-72C026C7F721}" dt="2025-03-03T21:32:36.617" v="2467" actId="1076"/>
          <ac:spMkLst>
            <pc:docMk/>
            <pc:sldMk cId="2244406975" sldId="2147480820"/>
            <ac:spMk id="1406" creationId="{122D52EB-0F29-9CF8-8FC2-39A4F9336528}"/>
          </ac:spMkLst>
        </pc:spChg>
        <pc:spChg chg="add mod ord">
          <ac:chgData name="Leonardo Torres Rendón" userId="5519c58d-5575-454c-9a1e-42e16f3cfec5" providerId="ADAL" clId="{66306716-014A-4B3A-83A0-72C026C7F721}" dt="2025-03-03T21:32:36.617" v="2467" actId="1076"/>
          <ac:spMkLst>
            <pc:docMk/>
            <pc:sldMk cId="2244406975" sldId="2147480820"/>
            <ac:spMk id="1421" creationId="{83B7564C-4375-280E-D291-8CDFC14B0FD2}"/>
          </ac:spMkLst>
        </pc:spChg>
        <pc:spChg chg="add mod">
          <ac:chgData name="Leonardo Torres Rendón" userId="5519c58d-5575-454c-9a1e-42e16f3cfec5" providerId="ADAL" clId="{66306716-014A-4B3A-83A0-72C026C7F721}" dt="2025-03-03T19:50:23.579" v="2393" actId="164"/>
          <ac:spMkLst>
            <pc:docMk/>
            <pc:sldMk cId="2244406975" sldId="2147480820"/>
            <ac:spMk id="1430" creationId="{B644CF94-8C9B-A28E-3C70-A48A93645105}"/>
          </ac:spMkLst>
        </pc:spChg>
        <pc:spChg chg="add mod">
          <ac:chgData name="Leonardo Torres Rendón" userId="5519c58d-5575-454c-9a1e-42e16f3cfec5" providerId="ADAL" clId="{66306716-014A-4B3A-83A0-72C026C7F721}" dt="2025-03-03T19:50:23.579" v="2393" actId="164"/>
          <ac:spMkLst>
            <pc:docMk/>
            <pc:sldMk cId="2244406975" sldId="2147480820"/>
            <ac:spMk id="1431" creationId="{53CDAC07-FA80-C354-6DDF-DE2D854A16C2}"/>
          </ac:spMkLst>
        </pc:spChg>
        <pc:spChg chg="add mod">
          <ac:chgData name="Leonardo Torres Rendón" userId="5519c58d-5575-454c-9a1e-42e16f3cfec5" providerId="ADAL" clId="{66306716-014A-4B3A-83A0-72C026C7F721}" dt="2025-03-03T19:50:23.579" v="2393" actId="164"/>
          <ac:spMkLst>
            <pc:docMk/>
            <pc:sldMk cId="2244406975" sldId="2147480820"/>
            <ac:spMk id="1432" creationId="{630A01B9-03A2-7981-6239-93D614F65F9F}"/>
          </ac:spMkLst>
        </pc:spChg>
        <pc:spChg chg="add mod">
          <ac:chgData name="Leonardo Torres Rendón" userId="5519c58d-5575-454c-9a1e-42e16f3cfec5" providerId="ADAL" clId="{66306716-014A-4B3A-83A0-72C026C7F721}" dt="2025-03-03T21:34:53.812" v="2484" actId="688"/>
          <ac:spMkLst>
            <pc:docMk/>
            <pc:sldMk cId="2244406975" sldId="2147480820"/>
            <ac:spMk id="1449" creationId="{004274DD-7667-848F-6ADB-9FF69B1BD2D5}"/>
          </ac:spMkLst>
        </pc:spChg>
        <pc:spChg chg="add mod">
          <ac:chgData name="Leonardo Torres Rendón" userId="5519c58d-5575-454c-9a1e-42e16f3cfec5" providerId="ADAL" clId="{66306716-014A-4B3A-83A0-72C026C7F721}" dt="2025-03-03T21:38:42.687" v="2494" actId="12789"/>
          <ac:spMkLst>
            <pc:docMk/>
            <pc:sldMk cId="2244406975" sldId="2147480820"/>
            <ac:spMk id="1450" creationId="{6CE2E572-45B6-054D-43AB-0AE753D2EC2B}"/>
          </ac:spMkLst>
        </pc:spChg>
        <pc:spChg chg="add mod">
          <ac:chgData name="Leonardo Torres Rendón" userId="5519c58d-5575-454c-9a1e-42e16f3cfec5" providerId="ADAL" clId="{66306716-014A-4B3A-83A0-72C026C7F721}" dt="2025-03-03T21:35:05.407" v="2487" actId="1076"/>
          <ac:spMkLst>
            <pc:docMk/>
            <pc:sldMk cId="2244406975" sldId="2147480820"/>
            <ac:spMk id="1451" creationId="{65D3D490-A3F4-B266-1D82-AF70BF8F0047}"/>
          </ac:spMkLst>
        </pc:spChg>
        <pc:spChg chg="add mod">
          <ac:chgData name="Leonardo Torres Rendón" userId="5519c58d-5575-454c-9a1e-42e16f3cfec5" providerId="ADAL" clId="{66306716-014A-4B3A-83A0-72C026C7F721}" dt="2025-03-03T22:27:51.391" v="2534" actId="1076"/>
          <ac:spMkLst>
            <pc:docMk/>
            <pc:sldMk cId="2244406975" sldId="2147480820"/>
            <ac:spMk id="1452" creationId="{5F23F57D-C25C-3276-CA7C-89437B016FF1}"/>
          </ac:spMkLst>
        </pc:spChg>
        <pc:spChg chg="add mod">
          <ac:chgData name="Leonardo Torres Rendón" userId="5519c58d-5575-454c-9a1e-42e16f3cfec5" providerId="ADAL" clId="{66306716-014A-4B3A-83A0-72C026C7F721}" dt="2025-03-03T21:43:38.709" v="2510" actId="164"/>
          <ac:spMkLst>
            <pc:docMk/>
            <pc:sldMk cId="2244406975" sldId="2147480820"/>
            <ac:spMk id="1455" creationId="{038515D7-CDF0-E19F-DE37-3B83BF00C757}"/>
          </ac:spMkLst>
        </pc:spChg>
        <pc:spChg chg="add mod">
          <ac:chgData name="Leonardo Torres Rendón" userId="5519c58d-5575-454c-9a1e-42e16f3cfec5" providerId="ADAL" clId="{66306716-014A-4B3A-83A0-72C026C7F721}" dt="2025-03-03T21:43:38.709" v="2510" actId="164"/>
          <ac:spMkLst>
            <pc:docMk/>
            <pc:sldMk cId="2244406975" sldId="2147480820"/>
            <ac:spMk id="1456" creationId="{B9FE0811-757C-E595-DA16-2518D3F69CC4}"/>
          </ac:spMkLst>
        </pc:spChg>
        <pc:spChg chg="add mod">
          <ac:chgData name="Leonardo Torres Rendón" userId="5519c58d-5575-454c-9a1e-42e16f3cfec5" providerId="ADAL" clId="{66306716-014A-4B3A-83A0-72C026C7F721}" dt="2025-03-03T21:43:48.048" v="2512" actId="164"/>
          <ac:spMkLst>
            <pc:docMk/>
            <pc:sldMk cId="2244406975" sldId="2147480820"/>
            <ac:spMk id="1458" creationId="{7253D330-FA6B-6B46-0918-A8707D28D4E9}"/>
          </ac:spMkLst>
        </pc:spChg>
        <pc:spChg chg="add mod">
          <ac:chgData name="Leonardo Torres Rendón" userId="5519c58d-5575-454c-9a1e-42e16f3cfec5" providerId="ADAL" clId="{66306716-014A-4B3A-83A0-72C026C7F721}" dt="2025-03-03T21:43:48.048" v="2512" actId="164"/>
          <ac:spMkLst>
            <pc:docMk/>
            <pc:sldMk cId="2244406975" sldId="2147480820"/>
            <ac:spMk id="1459" creationId="{5578BFA3-7EE4-E471-BCD2-0B469704DFAD}"/>
          </ac:spMkLst>
        </pc:spChg>
        <pc:spChg chg="add mod">
          <ac:chgData name="Leonardo Torres Rendón" userId="5519c58d-5575-454c-9a1e-42e16f3cfec5" providerId="ADAL" clId="{66306716-014A-4B3A-83A0-72C026C7F721}" dt="2025-03-03T21:43:54.200" v="2514" actId="164"/>
          <ac:spMkLst>
            <pc:docMk/>
            <pc:sldMk cId="2244406975" sldId="2147480820"/>
            <ac:spMk id="1461" creationId="{48D5CBF0-CA15-082E-B195-E2FE5BD56CD7}"/>
          </ac:spMkLst>
        </pc:spChg>
        <pc:spChg chg="add mod">
          <ac:chgData name="Leonardo Torres Rendón" userId="5519c58d-5575-454c-9a1e-42e16f3cfec5" providerId="ADAL" clId="{66306716-014A-4B3A-83A0-72C026C7F721}" dt="2025-03-03T21:43:54.200" v="2514" actId="164"/>
          <ac:spMkLst>
            <pc:docMk/>
            <pc:sldMk cId="2244406975" sldId="2147480820"/>
            <ac:spMk id="1462" creationId="{A9ED21B7-B5FB-D371-4246-236761446149}"/>
          </ac:spMkLst>
        </pc:spChg>
        <pc:grpChg chg="add mod">
          <ac:chgData name="Leonardo Torres Rendón" userId="5519c58d-5575-454c-9a1e-42e16f3cfec5" providerId="ADAL" clId="{66306716-014A-4B3A-83A0-72C026C7F721}" dt="2025-03-03T20:16:51.430" v="2436" actId="164"/>
          <ac:grpSpMkLst>
            <pc:docMk/>
            <pc:sldMk cId="2244406975" sldId="2147480820"/>
            <ac:grpSpMk id="4" creationId="{634639E8-4348-CEAC-D29F-ECED09265DC0}"/>
          </ac:grpSpMkLst>
        </pc:grpChg>
        <pc:grpChg chg="add mod ord">
          <ac:chgData name="Leonardo Torres Rendón" userId="5519c58d-5575-454c-9a1e-42e16f3cfec5" providerId="ADAL" clId="{66306716-014A-4B3A-83A0-72C026C7F721}" dt="2025-03-03T19:18:42.822" v="1907" actId="164"/>
          <ac:grpSpMkLst>
            <pc:docMk/>
            <pc:sldMk cId="2244406975" sldId="2147480820"/>
            <ac:grpSpMk id="26" creationId="{3611134D-86E0-8A16-59F9-5FAD99DE5EFC}"/>
          </ac:grpSpMkLst>
        </pc:grpChg>
        <pc:grpChg chg="add mod ord">
          <ac:chgData name="Leonardo Torres Rendón" userId="5519c58d-5575-454c-9a1e-42e16f3cfec5" providerId="ADAL" clId="{66306716-014A-4B3A-83A0-72C026C7F721}" dt="2025-03-03T19:18:45.858" v="1909" actId="164"/>
          <ac:grpSpMkLst>
            <pc:docMk/>
            <pc:sldMk cId="2244406975" sldId="2147480820"/>
            <ac:grpSpMk id="30" creationId="{57F1D771-8E67-711E-3590-85A08DBFB9C1}"/>
          </ac:grpSpMkLst>
        </pc:grpChg>
        <pc:grpChg chg="add mod ord">
          <ac:chgData name="Leonardo Torres Rendón" userId="5519c58d-5575-454c-9a1e-42e16f3cfec5" providerId="ADAL" clId="{66306716-014A-4B3A-83A0-72C026C7F721}" dt="2025-03-03T19:18:49.437" v="1911" actId="164"/>
          <ac:grpSpMkLst>
            <pc:docMk/>
            <pc:sldMk cId="2244406975" sldId="2147480820"/>
            <ac:grpSpMk id="32" creationId="{1A350176-5312-2539-7308-3DB27DBD7FA3}"/>
          </ac:grpSpMkLst>
        </pc:grpChg>
        <pc:grpChg chg="add mod">
          <ac:chgData name="Leonardo Torres Rendón" userId="5519c58d-5575-454c-9a1e-42e16f3cfec5" providerId="ADAL" clId="{66306716-014A-4B3A-83A0-72C026C7F721}" dt="2025-03-03T19:21:52.943" v="1951" actId="12789"/>
          <ac:grpSpMkLst>
            <pc:docMk/>
            <pc:sldMk cId="2244406975" sldId="2147480820"/>
            <ac:grpSpMk id="34" creationId="{95CC14B1-1515-FFE3-F198-1AC4F1C77CE8}"/>
          </ac:grpSpMkLst>
        </pc:grpChg>
        <pc:grpChg chg="add mod">
          <ac:chgData name="Leonardo Torres Rendón" userId="5519c58d-5575-454c-9a1e-42e16f3cfec5" providerId="ADAL" clId="{66306716-014A-4B3A-83A0-72C026C7F721}" dt="2025-03-03T19:19:24.156" v="1915" actId="164"/>
          <ac:grpSpMkLst>
            <pc:docMk/>
            <pc:sldMk cId="2244406975" sldId="2147480820"/>
            <ac:grpSpMk id="35" creationId="{884FA161-E0AD-72E3-6803-91D8DDFB89EC}"/>
          </ac:grpSpMkLst>
        </pc:grpChg>
        <pc:grpChg chg="add mod">
          <ac:chgData name="Leonardo Torres Rendón" userId="5519c58d-5575-454c-9a1e-42e16f3cfec5" providerId="ADAL" clId="{66306716-014A-4B3A-83A0-72C026C7F721}" dt="2025-03-03T19:19:24.156" v="1915" actId="164"/>
          <ac:grpSpMkLst>
            <pc:docMk/>
            <pc:sldMk cId="2244406975" sldId="2147480820"/>
            <ac:grpSpMk id="36" creationId="{3EC211F7-9EC5-1429-97AA-91B70DF64582}"/>
          </ac:grpSpMkLst>
        </pc:grpChg>
        <pc:grpChg chg="add mod">
          <ac:chgData name="Leonardo Torres Rendón" userId="5519c58d-5575-454c-9a1e-42e16f3cfec5" providerId="ADAL" clId="{66306716-014A-4B3A-83A0-72C026C7F721}" dt="2025-03-03T19:19:24.156" v="1915" actId="164"/>
          <ac:grpSpMkLst>
            <pc:docMk/>
            <pc:sldMk cId="2244406975" sldId="2147480820"/>
            <ac:grpSpMk id="37" creationId="{7C70E67D-4CCA-0E8A-9AE2-D8B480B85E1B}"/>
          </ac:grpSpMkLst>
        </pc:grpChg>
        <pc:grpChg chg="add mod">
          <ac:chgData name="Leonardo Torres Rendón" userId="5519c58d-5575-454c-9a1e-42e16f3cfec5" providerId="ADAL" clId="{66306716-014A-4B3A-83A0-72C026C7F721}" dt="2025-03-03T19:28:31.416" v="1984" actId="1076"/>
          <ac:grpSpMkLst>
            <pc:docMk/>
            <pc:sldMk cId="2244406975" sldId="2147480820"/>
            <ac:grpSpMk id="44" creationId="{E797B7B3-1472-6418-87C9-787F4952FC49}"/>
          </ac:grpSpMkLst>
        </pc:grpChg>
        <pc:grpChg chg="add mod">
          <ac:chgData name="Leonardo Torres Rendón" userId="5519c58d-5575-454c-9a1e-42e16f3cfec5" providerId="ADAL" clId="{66306716-014A-4B3A-83A0-72C026C7F721}" dt="2025-03-03T19:42:19.892" v="2270" actId="164"/>
          <ac:grpSpMkLst>
            <pc:docMk/>
            <pc:sldMk cId="2244406975" sldId="2147480820"/>
            <ac:grpSpMk id="48" creationId="{B76303BC-FF7A-3AC8-F4C7-7161F21F17E4}"/>
          </ac:grpSpMkLst>
        </pc:grpChg>
        <pc:grpChg chg="add mod">
          <ac:chgData name="Leonardo Torres Rendón" userId="5519c58d-5575-454c-9a1e-42e16f3cfec5" providerId="ADAL" clId="{66306716-014A-4B3A-83A0-72C026C7F721}" dt="2025-03-03T19:42:16.269" v="2268" actId="164"/>
          <ac:grpSpMkLst>
            <pc:docMk/>
            <pc:sldMk cId="2244406975" sldId="2147480820"/>
            <ac:grpSpMk id="54" creationId="{427A44D9-CA09-D9CF-16FD-3A39D041F075}"/>
          </ac:grpSpMkLst>
        </pc:grpChg>
        <pc:grpChg chg="add mod">
          <ac:chgData name="Leonardo Torres Rendón" userId="5519c58d-5575-454c-9a1e-42e16f3cfec5" providerId="ADAL" clId="{66306716-014A-4B3A-83A0-72C026C7F721}" dt="2025-03-03T20:16:51.430" v="2436" actId="164"/>
          <ac:grpSpMkLst>
            <pc:docMk/>
            <pc:sldMk cId="2244406975" sldId="2147480820"/>
            <ac:grpSpMk id="56" creationId="{0E923C17-972C-BB50-5D45-915E71BD0371}"/>
          </ac:grpSpMkLst>
        </pc:grpChg>
        <pc:grpChg chg="add mod">
          <ac:chgData name="Leonardo Torres Rendón" userId="5519c58d-5575-454c-9a1e-42e16f3cfec5" providerId="ADAL" clId="{66306716-014A-4B3A-83A0-72C026C7F721}" dt="2025-03-03T20:16:51.430" v="2436" actId="164"/>
          <ac:grpSpMkLst>
            <pc:docMk/>
            <pc:sldMk cId="2244406975" sldId="2147480820"/>
            <ac:grpSpMk id="61" creationId="{F82463ED-7497-7D5E-58D2-0489A6DD8182}"/>
          </ac:grpSpMkLst>
        </pc:grpChg>
        <pc:grpChg chg="add mod">
          <ac:chgData name="Leonardo Torres Rendón" userId="5519c58d-5575-454c-9a1e-42e16f3cfec5" providerId="ADAL" clId="{66306716-014A-4B3A-83A0-72C026C7F721}" dt="2025-03-03T20:16:51.430" v="2436" actId="164"/>
          <ac:grpSpMkLst>
            <pc:docMk/>
            <pc:sldMk cId="2244406975" sldId="2147480820"/>
            <ac:grpSpMk id="1346" creationId="{5C5EE343-4BC1-BFF9-AC46-FB3D8BE85FE4}"/>
          </ac:grpSpMkLst>
        </pc:grpChg>
        <pc:grpChg chg="mod topLvl">
          <ac:chgData name="Leonardo Torres Rendón" userId="5519c58d-5575-454c-9a1e-42e16f3cfec5" providerId="ADAL" clId="{66306716-014A-4B3A-83A0-72C026C7F721}" dt="2025-03-03T19:48:45.839" v="2373" actId="164"/>
          <ac:grpSpMkLst>
            <pc:docMk/>
            <pc:sldMk cId="2244406975" sldId="2147480820"/>
            <ac:grpSpMk id="1355" creationId="{98426777-7F6B-F529-1436-973A3C14C659}"/>
          </ac:grpSpMkLst>
        </pc:grpChg>
        <pc:grpChg chg="mod">
          <ac:chgData name="Leonardo Torres Rendón" userId="5519c58d-5575-454c-9a1e-42e16f3cfec5" providerId="ADAL" clId="{66306716-014A-4B3A-83A0-72C026C7F721}" dt="2025-03-03T19:50:23.579" v="2393" actId="164"/>
          <ac:grpSpMkLst>
            <pc:docMk/>
            <pc:sldMk cId="2244406975" sldId="2147480820"/>
            <ac:grpSpMk id="1365" creationId="{CA000EF0-8596-AE3C-6B35-A85C164E6F07}"/>
          </ac:grpSpMkLst>
        </pc:grpChg>
        <pc:grpChg chg="add mod">
          <ac:chgData name="Leonardo Torres Rendón" userId="5519c58d-5575-454c-9a1e-42e16f3cfec5" providerId="ADAL" clId="{66306716-014A-4B3A-83A0-72C026C7F721}" dt="2025-03-03T18:39:26.804" v="842" actId="165"/>
          <ac:grpSpMkLst>
            <pc:docMk/>
            <pc:sldMk cId="2244406975" sldId="2147480820"/>
            <ac:grpSpMk id="1366" creationId="{0141D2C6-F588-0869-D67B-8A9923B464F1}"/>
          </ac:grpSpMkLst>
        </pc:grpChg>
        <pc:grpChg chg="mod">
          <ac:chgData name="Leonardo Torres Rendón" userId="5519c58d-5575-454c-9a1e-42e16f3cfec5" providerId="ADAL" clId="{66306716-014A-4B3A-83A0-72C026C7F721}" dt="2025-03-03T19:50:23.579" v="2393" actId="164"/>
          <ac:grpSpMkLst>
            <pc:docMk/>
            <pc:sldMk cId="2244406975" sldId="2147480820"/>
            <ac:grpSpMk id="1383" creationId="{82476BEB-D687-A0CF-665C-E5190AD95FD3}"/>
          </ac:grpSpMkLst>
        </pc:grpChg>
        <pc:grpChg chg="add mod ord">
          <ac:chgData name="Leonardo Torres Rendón" userId="5519c58d-5575-454c-9a1e-42e16f3cfec5" providerId="ADAL" clId="{66306716-014A-4B3A-83A0-72C026C7F721}" dt="2025-03-03T18:39:27.415" v="843" actId="165"/>
          <ac:grpSpMkLst>
            <pc:docMk/>
            <pc:sldMk cId="2244406975" sldId="2147480820"/>
            <ac:grpSpMk id="1387" creationId="{54E9D5CF-4B20-B291-BDF0-7B37622AB076}"/>
          </ac:grpSpMkLst>
        </pc:grpChg>
        <pc:grpChg chg="add mod ord topLvl">
          <ac:chgData name="Leonardo Torres Rendón" userId="5519c58d-5575-454c-9a1e-42e16f3cfec5" providerId="ADAL" clId="{66306716-014A-4B3A-83A0-72C026C7F721}" dt="2025-03-03T18:40:22.204" v="862" actId="164"/>
          <ac:grpSpMkLst>
            <pc:docMk/>
            <pc:sldMk cId="2244406975" sldId="2147480820"/>
            <ac:grpSpMk id="1388" creationId="{0BDC1D97-DE89-AD4E-9171-D8BB5B670DB4}"/>
          </ac:grpSpMkLst>
        </pc:grpChg>
        <pc:grpChg chg="mod ord topLvl">
          <ac:chgData name="Leonardo Torres Rendón" userId="5519c58d-5575-454c-9a1e-42e16f3cfec5" providerId="ADAL" clId="{66306716-014A-4B3A-83A0-72C026C7F721}" dt="2025-03-03T18:39:25.951" v="841" actId="165"/>
          <ac:grpSpMkLst>
            <pc:docMk/>
            <pc:sldMk cId="2244406975" sldId="2147480820"/>
            <ac:grpSpMk id="1391" creationId="{0F9519C3-C7BA-EB22-E40E-35CF25FA3286}"/>
          </ac:grpSpMkLst>
        </pc:grpChg>
        <pc:grpChg chg="add mod topLvl">
          <ac:chgData name="Leonardo Torres Rendón" userId="5519c58d-5575-454c-9a1e-42e16f3cfec5" providerId="ADAL" clId="{66306716-014A-4B3A-83A0-72C026C7F721}" dt="2025-03-03T18:40:19.259" v="860" actId="164"/>
          <ac:grpSpMkLst>
            <pc:docMk/>
            <pc:sldMk cId="2244406975" sldId="2147480820"/>
            <ac:grpSpMk id="1395" creationId="{83CF2948-70CB-5F36-C2D4-54399DF8BF77}"/>
          </ac:grpSpMkLst>
        </pc:grpChg>
        <pc:grpChg chg="add mod topLvl">
          <ac:chgData name="Leonardo Torres Rendón" userId="5519c58d-5575-454c-9a1e-42e16f3cfec5" providerId="ADAL" clId="{66306716-014A-4B3A-83A0-72C026C7F721}" dt="2025-03-03T18:40:20.650" v="861" actId="164"/>
          <ac:grpSpMkLst>
            <pc:docMk/>
            <pc:sldMk cId="2244406975" sldId="2147480820"/>
            <ac:grpSpMk id="1396" creationId="{157D39E0-CBA6-A847-78F4-05FB09760FA4}"/>
          </ac:grpSpMkLst>
        </pc:grpChg>
        <pc:grpChg chg="add mod">
          <ac:chgData name="Leonardo Torres Rendón" userId="5519c58d-5575-454c-9a1e-42e16f3cfec5" providerId="ADAL" clId="{66306716-014A-4B3A-83A0-72C026C7F721}" dt="2025-03-03T18:41:37.063" v="877" actId="164"/>
          <ac:grpSpMkLst>
            <pc:docMk/>
            <pc:sldMk cId="2244406975" sldId="2147480820"/>
            <ac:grpSpMk id="1407" creationId="{5E2453EB-3E19-224F-65C8-D15C09ED0D56}"/>
          </ac:grpSpMkLst>
        </pc:grpChg>
        <pc:grpChg chg="add mod topLvl">
          <ac:chgData name="Leonardo Torres Rendón" userId="5519c58d-5575-454c-9a1e-42e16f3cfec5" providerId="ADAL" clId="{66306716-014A-4B3A-83A0-72C026C7F721}" dt="2025-03-03T18:41:37.063" v="877" actId="164"/>
          <ac:grpSpMkLst>
            <pc:docMk/>
            <pc:sldMk cId="2244406975" sldId="2147480820"/>
            <ac:grpSpMk id="1408" creationId="{D22D9679-D659-67AC-349E-F37C0B790161}"/>
          </ac:grpSpMkLst>
        </pc:grpChg>
        <pc:grpChg chg="add mod">
          <ac:chgData name="Leonardo Torres Rendón" userId="5519c58d-5575-454c-9a1e-42e16f3cfec5" providerId="ADAL" clId="{66306716-014A-4B3A-83A0-72C026C7F721}" dt="2025-03-03T18:41:37.063" v="877" actId="164"/>
          <ac:grpSpMkLst>
            <pc:docMk/>
            <pc:sldMk cId="2244406975" sldId="2147480820"/>
            <ac:grpSpMk id="1409" creationId="{65AADC0D-AD7C-81A0-8C44-A867A022FF73}"/>
          </ac:grpSpMkLst>
        </pc:grpChg>
        <pc:grpChg chg="add mod">
          <ac:chgData name="Leonardo Torres Rendón" userId="5519c58d-5575-454c-9a1e-42e16f3cfec5" providerId="ADAL" clId="{66306716-014A-4B3A-83A0-72C026C7F721}" dt="2025-03-03T18:41:23.619" v="872" actId="164"/>
          <ac:grpSpMkLst>
            <pc:docMk/>
            <pc:sldMk cId="2244406975" sldId="2147480820"/>
            <ac:grpSpMk id="1411" creationId="{422EDB5B-8E08-7492-1857-4034B8A0A699}"/>
          </ac:grpSpMkLst>
        </pc:grpChg>
        <pc:grpChg chg="add mod">
          <ac:chgData name="Leonardo Torres Rendón" userId="5519c58d-5575-454c-9a1e-42e16f3cfec5" providerId="ADAL" clId="{66306716-014A-4B3A-83A0-72C026C7F721}" dt="2025-03-03T18:41:23.619" v="872" actId="164"/>
          <ac:grpSpMkLst>
            <pc:docMk/>
            <pc:sldMk cId="2244406975" sldId="2147480820"/>
            <ac:grpSpMk id="1412" creationId="{44D5CEA9-1B66-19CE-2B08-65D680405542}"/>
          </ac:grpSpMkLst>
        </pc:grpChg>
        <pc:grpChg chg="add mod">
          <ac:chgData name="Leonardo Torres Rendón" userId="5519c58d-5575-454c-9a1e-42e16f3cfec5" providerId="ADAL" clId="{66306716-014A-4B3A-83A0-72C026C7F721}" dt="2025-03-03T18:41:23.619" v="872" actId="164"/>
          <ac:grpSpMkLst>
            <pc:docMk/>
            <pc:sldMk cId="2244406975" sldId="2147480820"/>
            <ac:grpSpMk id="1413" creationId="{03CBB6C1-4534-2DBC-30DD-284289B3D5AA}"/>
          </ac:grpSpMkLst>
        </pc:grpChg>
        <pc:grpChg chg="add mod ord">
          <ac:chgData name="Leonardo Torres Rendón" userId="5519c58d-5575-454c-9a1e-42e16f3cfec5" providerId="ADAL" clId="{66306716-014A-4B3A-83A0-72C026C7F721}" dt="2025-03-03T21:32:47.093" v="2469" actId="1076"/>
          <ac:grpSpMkLst>
            <pc:docMk/>
            <pc:sldMk cId="2244406975" sldId="2147480820"/>
            <ac:grpSpMk id="1414" creationId="{A78C197B-C25C-3A5B-E7AC-0F2AFF6B4535}"/>
          </ac:grpSpMkLst>
        </pc:grpChg>
        <pc:grpChg chg="add mod ord">
          <ac:chgData name="Leonardo Torres Rendón" userId="5519c58d-5575-454c-9a1e-42e16f3cfec5" providerId="ADAL" clId="{66306716-014A-4B3A-83A0-72C026C7F721}" dt="2025-03-03T21:32:36.617" v="2467" actId="1076"/>
          <ac:grpSpMkLst>
            <pc:docMk/>
            <pc:sldMk cId="2244406975" sldId="2147480820"/>
            <ac:grpSpMk id="1415" creationId="{7272B7BA-9657-4D0A-F4B4-EB2153B77CCA}"/>
          </ac:grpSpMkLst>
        </pc:grpChg>
        <pc:grpChg chg="add mod">
          <ac:chgData name="Leonardo Torres Rendón" userId="5519c58d-5575-454c-9a1e-42e16f3cfec5" providerId="ADAL" clId="{66306716-014A-4B3A-83A0-72C026C7F721}" dt="2025-03-03T19:50:23.579" v="2393" actId="164"/>
          <ac:grpSpMkLst>
            <pc:docMk/>
            <pc:sldMk cId="2244406975" sldId="2147480820"/>
            <ac:grpSpMk id="1428" creationId="{F4E33EC4-EEAB-DCE0-2886-C82F63A310DB}"/>
          </ac:grpSpMkLst>
        </pc:grpChg>
        <pc:grpChg chg="add mod">
          <ac:chgData name="Leonardo Torres Rendón" userId="5519c58d-5575-454c-9a1e-42e16f3cfec5" providerId="ADAL" clId="{66306716-014A-4B3A-83A0-72C026C7F721}" dt="2025-03-03T19:49:47.265" v="2389" actId="164"/>
          <ac:grpSpMkLst>
            <pc:docMk/>
            <pc:sldMk cId="2244406975" sldId="2147480820"/>
            <ac:grpSpMk id="1433" creationId="{DF3266A2-2747-7AF2-D6A1-BC413A92255A}"/>
          </ac:grpSpMkLst>
        </pc:grpChg>
        <pc:grpChg chg="add mod">
          <ac:chgData name="Leonardo Torres Rendón" userId="5519c58d-5575-454c-9a1e-42e16f3cfec5" providerId="ADAL" clId="{66306716-014A-4B3A-83A0-72C026C7F721}" dt="2025-03-03T19:50:23.579" v="2393" actId="164"/>
          <ac:grpSpMkLst>
            <pc:docMk/>
            <pc:sldMk cId="2244406975" sldId="2147480820"/>
            <ac:grpSpMk id="1434" creationId="{336FBF06-D4B6-81FE-1166-89942A214804}"/>
          </ac:grpSpMkLst>
        </pc:grpChg>
        <pc:grpChg chg="add mod">
          <ac:chgData name="Leonardo Torres Rendón" userId="5519c58d-5575-454c-9a1e-42e16f3cfec5" providerId="ADAL" clId="{66306716-014A-4B3A-83A0-72C026C7F721}" dt="2025-03-03T21:34:24.073" v="2482" actId="1076"/>
          <ac:grpSpMkLst>
            <pc:docMk/>
            <pc:sldMk cId="2244406975" sldId="2147480820"/>
            <ac:grpSpMk id="1435" creationId="{B0B320FC-DC36-BB0D-0509-5259A74FE91C}"/>
          </ac:grpSpMkLst>
        </pc:grpChg>
        <pc:grpChg chg="add mod">
          <ac:chgData name="Leonardo Torres Rendón" userId="5519c58d-5575-454c-9a1e-42e16f3cfec5" providerId="ADAL" clId="{66306716-014A-4B3A-83A0-72C026C7F721}" dt="2025-03-03T20:16:56.138" v="2437" actId="1076"/>
          <ac:grpSpMkLst>
            <pc:docMk/>
            <pc:sldMk cId="2244406975" sldId="2147480820"/>
            <ac:grpSpMk id="1439" creationId="{1630C7FB-9A87-ED38-2856-E28239D8C238}"/>
          </ac:grpSpMkLst>
        </pc:grpChg>
        <pc:grpChg chg="add mod">
          <ac:chgData name="Leonardo Torres Rendón" userId="5519c58d-5575-454c-9a1e-42e16f3cfec5" providerId="ADAL" clId="{66306716-014A-4B3A-83A0-72C026C7F721}" dt="2025-03-03T21:48:47.325" v="2525" actId="1036"/>
          <ac:grpSpMkLst>
            <pc:docMk/>
            <pc:sldMk cId="2244406975" sldId="2147480820"/>
            <ac:grpSpMk id="1464" creationId="{D6311335-4EDE-A86D-CD20-18010597C45B}"/>
          </ac:grpSpMkLst>
        </pc:grpChg>
        <pc:grpChg chg="add mod">
          <ac:chgData name="Leonardo Torres Rendón" userId="5519c58d-5575-454c-9a1e-42e16f3cfec5" providerId="ADAL" clId="{66306716-014A-4B3A-83A0-72C026C7F721}" dt="2025-03-03T21:48:54.933" v="2533" actId="1035"/>
          <ac:grpSpMkLst>
            <pc:docMk/>
            <pc:sldMk cId="2244406975" sldId="2147480820"/>
            <ac:grpSpMk id="1465" creationId="{7402A6ED-4D8A-D082-AE75-86BFFB272628}"/>
          </ac:grpSpMkLst>
        </pc:grpChg>
        <pc:grpChg chg="add mod">
          <ac:chgData name="Leonardo Torres Rendón" userId="5519c58d-5575-454c-9a1e-42e16f3cfec5" providerId="ADAL" clId="{66306716-014A-4B3A-83A0-72C026C7F721}" dt="2025-03-03T21:48:54.933" v="2533" actId="1035"/>
          <ac:grpSpMkLst>
            <pc:docMk/>
            <pc:sldMk cId="2244406975" sldId="2147480820"/>
            <ac:grpSpMk id="1466" creationId="{B56FF759-21FB-1C9F-0F34-25600CF03D0E}"/>
          </ac:grpSpMkLst>
        </pc:grpChg>
        <pc:graphicFrameChg chg="mod">
          <ac:chgData name="Leonardo Torres Rendón" userId="5519c58d-5575-454c-9a1e-42e16f3cfec5" providerId="ADAL" clId="{66306716-014A-4B3A-83A0-72C026C7F721}" dt="2025-03-03T19:17:11.841" v="1867"/>
          <ac:graphicFrameMkLst>
            <pc:docMk/>
            <pc:sldMk cId="2244406975" sldId="2147480820"/>
            <ac:graphicFrameMk id="6" creationId="{00000000-0000-0000-0000-000000000000}"/>
          </ac:graphicFrameMkLst>
        </pc:graphicFrameChg>
        <pc:picChg chg="add mod ord">
          <ac:chgData name="Leonardo Torres Rendón" userId="5519c58d-5575-454c-9a1e-42e16f3cfec5" providerId="ADAL" clId="{66306716-014A-4B3A-83A0-72C026C7F721}" dt="2025-03-03T19:18:14.274" v="1901" actId="164"/>
          <ac:picMkLst>
            <pc:docMk/>
            <pc:sldMk cId="2244406975" sldId="2147480820"/>
            <ac:picMk id="10" creationId="{C432DFA8-31A1-789D-5D9D-659044F0055B}"/>
          </ac:picMkLst>
        </pc:picChg>
        <pc:picChg chg="add mod ord">
          <ac:chgData name="Leonardo Torres Rendón" userId="5519c58d-5575-454c-9a1e-42e16f3cfec5" providerId="ADAL" clId="{66306716-014A-4B3A-83A0-72C026C7F721}" dt="2025-03-03T19:14:50.348" v="1450" actId="164"/>
          <ac:picMkLst>
            <pc:docMk/>
            <pc:sldMk cId="2244406975" sldId="2147480820"/>
            <ac:picMk id="15" creationId="{F70AF5C4-73A0-4322-9D65-73B0BCC2BF2E}"/>
          </ac:picMkLst>
        </pc:picChg>
        <pc:picChg chg="add mod ord">
          <ac:chgData name="Leonardo Torres Rendón" userId="5519c58d-5575-454c-9a1e-42e16f3cfec5" providerId="ADAL" clId="{66306716-014A-4B3A-83A0-72C026C7F721}" dt="2025-03-03T19:15:55.172" v="1692" actId="164"/>
          <ac:picMkLst>
            <pc:docMk/>
            <pc:sldMk cId="2244406975" sldId="2147480820"/>
            <ac:picMk id="16" creationId="{41B86DB8-EAB6-FB9B-1A6D-02F373C83E3D}"/>
          </ac:picMkLst>
        </pc:picChg>
        <pc:picChg chg="add mod ord">
          <ac:chgData name="Leonardo Torres Rendón" userId="5519c58d-5575-454c-9a1e-42e16f3cfec5" providerId="ADAL" clId="{66306716-014A-4B3A-83A0-72C026C7F721}" dt="2025-03-03T19:16:25.885" v="1779" actId="164"/>
          <ac:picMkLst>
            <pc:docMk/>
            <pc:sldMk cId="2244406975" sldId="2147480820"/>
            <ac:picMk id="23" creationId="{BFC30907-2B9D-B910-24C0-194AEE2DAAD2}"/>
          </ac:picMkLst>
        </pc:picChg>
        <pc:picChg chg="mod">
          <ac:chgData name="Leonardo Torres Rendón" userId="5519c58d-5575-454c-9a1e-42e16f3cfec5" providerId="ADAL" clId="{66306716-014A-4B3A-83A0-72C026C7F721}" dt="2025-03-03T20:16:49.085" v="2435" actId="164"/>
          <ac:picMkLst>
            <pc:docMk/>
            <pc:sldMk cId="2244406975" sldId="2147480820"/>
            <ac:picMk id="27" creationId="{6972276F-2B05-DDE3-0A90-0DAF389D4FD5}"/>
          </ac:picMkLst>
        </pc:picChg>
        <pc:picChg chg="add mod">
          <ac:chgData name="Leonardo Torres Rendón" userId="5519c58d-5575-454c-9a1e-42e16f3cfec5" providerId="ADAL" clId="{66306716-014A-4B3A-83A0-72C026C7F721}" dt="2025-03-03T20:16:49.085" v="2435" actId="164"/>
          <ac:picMkLst>
            <pc:docMk/>
            <pc:sldMk cId="2244406975" sldId="2147480820"/>
            <ac:picMk id="45" creationId="{25C3C101-F3F0-9A12-BE28-1E356DF5F83B}"/>
          </ac:picMkLst>
        </pc:picChg>
        <pc:picChg chg="add mod">
          <ac:chgData name="Leonardo Torres Rendón" userId="5519c58d-5575-454c-9a1e-42e16f3cfec5" providerId="ADAL" clId="{66306716-014A-4B3A-83A0-72C026C7F721}" dt="2025-03-03T20:16:39.124" v="2432" actId="165"/>
          <ac:picMkLst>
            <pc:docMk/>
            <pc:sldMk cId="2244406975" sldId="2147480820"/>
            <ac:picMk id="47" creationId="{8093D14D-A188-2364-0E38-B4846E256C70}"/>
          </ac:picMkLst>
        </pc:picChg>
        <pc:picChg chg="add mod">
          <ac:chgData name="Leonardo Torres Rendón" userId="5519c58d-5575-454c-9a1e-42e16f3cfec5" providerId="ADAL" clId="{66306716-014A-4B3A-83A0-72C026C7F721}" dt="2025-03-03T20:16:39.124" v="2432" actId="165"/>
          <ac:picMkLst>
            <pc:docMk/>
            <pc:sldMk cId="2244406975" sldId="2147480820"/>
            <ac:picMk id="52" creationId="{0A6BFA68-C7C0-8CDA-188A-FEC9D3A04E42}"/>
          </ac:picMkLst>
        </pc:picChg>
        <pc:picChg chg="mod topLvl">
          <ac:chgData name="Leonardo Torres Rendón" userId="5519c58d-5575-454c-9a1e-42e16f3cfec5" providerId="ADAL" clId="{66306716-014A-4B3A-83A0-72C026C7F721}" dt="2025-03-03T20:16:49.085" v="2435" actId="164"/>
          <ac:picMkLst>
            <pc:docMk/>
            <pc:sldMk cId="2244406975" sldId="2147480820"/>
            <ac:picMk id="57" creationId="{EAA493AD-09BA-30CE-8C84-E560BDF26701}"/>
          </ac:picMkLst>
        </pc:picChg>
        <pc:picChg chg="mod topLvl">
          <ac:chgData name="Leonardo Torres Rendón" userId="5519c58d-5575-454c-9a1e-42e16f3cfec5" providerId="ADAL" clId="{66306716-014A-4B3A-83A0-72C026C7F721}" dt="2025-03-03T20:16:49.085" v="2435" actId="164"/>
          <ac:picMkLst>
            <pc:docMk/>
            <pc:sldMk cId="2244406975" sldId="2147480820"/>
            <ac:picMk id="58" creationId="{D1EA77BA-6E7D-C47E-EE1A-57F659F3185C}"/>
          </ac:picMkLst>
        </pc:picChg>
        <pc:picChg chg="add mod">
          <ac:chgData name="Leonardo Torres Rendón" userId="5519c58d-5575-454c-9a1e-42e16f3cfec5" providerId="ADAL" clId="{66306716-014A-4B3A-83A0-72C026C7F721}" dt="2025-03-03T20:16:49.085" v="2435" actId="164"/>
          <ac:picMkLst>
            <pc:docMk/>
            <pc:sldMk cId="2244406975" sldId="2147480820"/>
            <ac:picMk id="60" creationId="{A5A08076-AA49-99A6-8011-5469E8B3C744}"/>
          </ac:picMkLst>
        </pc:picChg>
        <pc:picChg chg="add mod topLvl modCrop">
          <ac:chgData name="Leonardo Torres Rendón" userId="5519c58d-5575-454c-9a1e-42e16f3cfec5" providerId="ADAL" clId="{66306716-014A-4B3A-83A0-72C026C7F721}" dt="2025-03-03T18:39:26.804" v="842" actId="165"/>
          <ac:picMkLst>
            <pc:docMk/>
            <pc:sldMk cId="2244406975" sldId="2147480820"/>
            <ac:picMk id="1358" creationId="{1B436DBD-01BA-19C2-6376-5F08F32B7C52}"/>
          </ac:picMkLst>
        </pc:picChg>
        <pc:picChg chg="mod">
          <ac:chgData name="Leonardo Torres Rendón" userId="5519c58d-5575-454c-9a1e-42e16f3cfec5" providerId="ADAL" clId="{66306716-014A-4B3A-83A0-72C026C7F721}" dt="2025-03-03T19:49:15.631" v="2380" actId="165"/>
          <ac:picMkLst>
            <pc:docMk/>
            <pc:sldMk cId="2244406975" sldId="2147480820"/>
            <ac:picMk id="1359" creationId="{607597D8-8B90-5A99-37CE-148C441EE2FD}"/>
          </ac:picMkLst>
        </pc:picChg>
        <pc:picChg chg="mod">
          <ac:chgData name="Leonardo Torres Rendón" userId="5519c58d-5575-454c-9a1e-42e16f3cfec5" providerId="ADAL" clId="{66306716-014A-4B3A-83A0-72C026C7F721}" dt="2025-03-03T19:49:15.631" v="2380" actId="165"/>
          <ac:picMkLst>
            <pc:docMk/>
            <pc:sldMk cId="2244406975" sldId="2147480820"/>
            <ac:picMk id="1360" creationId="{B3747F09-9155-5BD9-90BE-54D4072E9660}"/>
          </ac:picMkLst>
        </pc:picChg>
        <pc:picChg chg="mod">
          <ac:chgData name="Leonardo Torres Rendón" userId="5519c58d-5575-454c-9a1e-42e16f3cfec5" providerId="ADAL" clId="{66306716-014A-4B3A-83A0-72C026C7F721}" dt="2025-03-03T19:48:41.925" v="2371" actId="165"/>
          <ac:picMkLst>
            <pc:docMk/>
            <pc:sldMk cId="2244406975" sldId="2147480820"/>
            <ac:picMk id="1361" creationId="{039847AD-0F48-DD52-895E-67FB8DE65994}"/>
          </ac:picMkLst>
        </pc:picChg>
        <pc:picChg chg="mod topLvl">
          <ac:chgData name="Leonardo Torres Rendón" userId="5519c58d-5575-454c-9a1e-42e16f3cfec5" providerId="ADAL" clId="{66306716-014A-4B3A-83A0-72C026C7F721}" dt="2025-03-03T19:27:53.963" v="1980" actId="207"/>
          <ac:picMkLst>
            <pc:docMk/>
            <pc:sldMk cId="2244406975" sldId="2147480820"/>
            <ac:picMk id="1369" creationId="{811BF5D8-A7FC-6997-3979-4DC68AE5B1D1}"/>
          </ac:picMkLst>
        </pc:picChg>
        <pc:picChg chg="mod topLvl">
          <ac:chgData name="Leonardo Torres Rendón" userId="5519c58d-5575-454c-9a1e-42e16f3cfec5" providerId="ADAL" clId="{66306716-014A-4B3A-83A0-72C026C7F721}" dt="2025-03-03T19:27:59.554" v="1981" actId="208"/>
          <ac:picMkLst>
            <pc:docMk/>
            <pc:sldMk cId="2244406975" sldId="2147480820"/>
            <ac:picMk id="1370" creationId="{05382E3B-6929-899A-FDA6-B0536155FD14}"/>
          </ac:picMkLst>
        </pc:picChg>
        <pc:picChg chg="mod topLvl">
          <ac:chgData name="Leonardo Torres Rendón" userId="5519c58d-5575-454c-9a1e-42e16f3cfec5" providerId="ADAL" clId="{66306716-014A-4B3A-83A0-72C026C7F721}" dt="2025-03-03T19:27:59.554" v="1981" actId="208"/>
          <ac:picMkLst>
            <pc:docMk/>
            <pc:sldMk cId="2244406975" sldId="2147480820"/>
            <ac:picMk id="1377" creationId="{7B9F8E0F-D353-CC74-7F62-D9D3A9D5D4E1}"/>
          </ac:picMkLst>
        </pc:picChg>
        <pc:picChg chg="mod">
          <ac:chgData name="Leonardo Torres Rendón" userId="5519c58d-5575-454c-9a1e-42e16f3cfec5" providerId="ADAL" clId="{66306716-014A-4B3A-83A0-72C026C7F721}" dt="2025-03-03T19:49:15.631" v="2380" actId="165"/>
          <ac:picMkLst>
            <pc:docMk/>
            <pc:sldMk cId="2244406975" sldId="2147480820"/>
            <ac:picMk id="1381" creationId="{3F42E76E-36B6-2A7E-404D-2847A5BB2AF0}"/>
          </ac:picMkLst>
        </pc:picChg>
        <pc:picChg chg="mod">
          <ac:chgData name="Leonardo Torres Rendón" userId="5519c58d-5575-454c-9a1e-42e16f3cfec5" providerId="ADAL" clId="{66306716-014A-4B3A-83A0-72C026C7F721}" dt="2025-03-03T18:39:25.951" v="841" actId="165"/>
          <ac:picMkLst>
            <pc:docMk/>
            <pc:sldMk cId="2244406975" sldId="2147480820"/>
            <ac:picMk id="1393" creationId="{D90EC59A-0EE5-EC7E-A230-FC00DAD56F4F}"/>
          </ac:picMkLst>
        </pc:picChg>
        <pc:picChg chg="mod topLvl">
          <ac:chgData name="Leonardo Torres Rendón" userId="5519c58d-5575-454c-9a1e-42e16f3cfec5" providerId="ADAL" clId="{66306716-014A-4B3A-83A0-72C026C7F721}" dt="2025-03-03T19:49:45.938" v="2388" actId="164"/>
          <ac:picMkLst>
            <pc:docMk/>
            <pc:sldMk cId="2244406975" sldId="2147480820"/>
            <ac:picMk id="1403" creationId="{EF3BEE55-48F9-6FC8-04AC-12EF2B466808}"/>
          </ac:picMkLst>
        </pc:picChg>
        <pc:picChg chg="add mod topLvl">
          <ac:chgData name="Leonardo Torres Rendón" userId="5519c58d-5575-454c-9a1e-42e16f3cfec5" providerId="ADAL" clId="{66306716-014A-4B3A-83A0-72C026C7F721}" dt="2025-03-03T19:49:45.938" v="2388" actId="164"/>
          <ac:picMkLst>
            <pc:docMk/>
            <pc:sldMk cId="2244406975" sldId="2147480820"/>
            <ac:picMk id="1418" creationId="{6AC0A77D-1EA1-405A-5379-57E83F6772EF}"/>
          </ac:picMkLst>
        </pc:picChg>
        <pc:picChg chg="add mod">
          <ac:chgData name="Leonardo Torres Rendón" userId="5519c58d-5575-454c-9a1e-42e16f3cfec5" providerId="ADAL" clId="{66306716-014A-4B3A-83A0-72C026C7F721}" dt="2025-03-03T21:43:38.709" v="2510" actId="164"/>
          <ac:picMkLst>
            <pc:docMk/>
            <pc:sldMk cId="2244406975" sldId="2147480820"/>
            <ac:picMk id="1457" creationId="{D8F4F003-7303-4E19-7418-61940FB5FD06}"/>
          </ac:picMkLst>
        </pc:picChg>
        <pc:picChg chg="add mod">
          <ac:chgData name="Leonardo Torres Rendón" userId="5519c58d-5575-454c-9a1e-42e16f3cfec5" providerId="ADAL" clId="{66306716-014A-4B3A-83A0-72C026C7F721}" dt="2025-03-03T21:43:48.048" v="2512" actId="164"/>
          <ac:picMkLst>
            <pc:docMk/>
            <pc:sldMk cId="2244406975" sldId="2147480820"/>
            <ac:picMk id="1460" creationId="{86171A89-01B1-8EA0-33D8-E3838E3BF361}"/>
          </ac:picMkLst>
        </pc:picChg>
        <pc:picChg chg="add mod">
          <ac:chgData name="Leonardo Torres Rendón" userId="5519c58d-5575-454c-9a1e-42e16f3cfec5" providerId="ADAL" clId="{66306716-014A-4B3A-83A0-72C026C7F721}" dt="2025-03-03T21:43:54.200" v="2514" actId="164"/>
          <ac:picMkLst>
            <pc:docMk/>
            <pc:sldMk cId="2244406975" sldId="2147480820"/>
            <ac:picMk id="1463" creationId="{99A06F02-1273-4396-AC17-0242DFC15764}"/>
          </ac:picMkLst>
        </pc:picChg>
      </pc:sldChg>
      <pc:sldChg chg="addSp modSp add mod">
        <pc:chgData name="Leonardo Torres Rendón" userId="5519c58d-5575-454c-9a1e-42e16f3cfec5" providerId="ADAL" clId="{66306716-014A-4B3A-83A0-72C026C7F721}" dt="2025-03-03T19:48:26.314" v="2358" actId="1076"/>
        <pc:sldMkLst>
          <pc:docMk/>
          <pc:sldMk cId="2932324413" sldId="2147480821"/>
        </pc:sldMkLst>
      </pc:sldChg>
      <pc:sldChg chg="addSp delSp modSp add mod">
        <pc:chgData name="Leonardo Torres Rendón" userId="5519c58d-5575-454c-9a1e-42e16f3cfec5" providerId="ADAL" clId="{66306716-014A-4B3A-83A0-72C026C7F721}" dt="2025-03-03T23:59:04.766" v="2983" actId="1076"/>
        <pc:sldMkLst>
          <pc:docMk/>
          <pc:sldMk cId="3349944891" sldId="2147480821"/>
        </pc:sldMkLst>
        <pc:spChg chg="add mod">
          <ac:chgData name="Leonardo Torres Rendón" userId="5519c58d-5575-454c-9a1e-42e16f3cfec5" providerId="ADAL" clId="{66306716-014A-4B3A-83A0-72C026C7F721}" dt="2025-03-03T22:47:49.402" v="2613" actId="164"/>
          <ac:spMkLst>
            <pc:docMk/>
            <pc:sldMk cId="3349944891" sldId="2147480821"/>
            <ac:spMk id="5" creationId="{2700CE41-118C-29B7-0B65-20BF399054BF}"/>
          </ac:spMkLst>
        </pc:spChg>
        <pc:spChg chg="add mod">
          <ac:chgData name="Leonardo Torres Rendón" userId="5519c58d-5575-454c-9a1e-42e16f3cfec5" providerId="ADAL" clId="{66306716-014A-4B3A-83A0-72C026C7F721}" dt="2025-03-03T22:49:48.768" v="2634" actId="1037"/>
          <ac:spMkLst>
            <pc:docMk/>
            <pc:sldMk cId="3349944891" sldId="2147480821"/>
            <ac:spMk id="11" creationId="{CA57CE11-1506-54F1-B5D3-625BBD9DB924}"/>
          </ac:spMkLst>
        </pc:spChg>
        <pc:spChg chg="add mod">
          <ac:chgData name="Leonardo Torres Rendón" userId="5519c58d-5575-454c-9a1e-42e16f3cfec5" providerId="ADAL" clId="{66306716-014A-4B3A-83A0-72C026C7F721}" dt="2025-03-03T22:47:49.402" v="2613" actId="164"/>
          <ac:spMkLst>
            <pc:docMk/>
            <pc:sldMk cId="3349944891" sldId="2147480821"/>
            <ac:spMk id="12" creationId="{451995A0-D096-F3AF-F7FA-297A865E04E4}"/>
          </ac:spMkLst>
        </pc:spChg>
        <pc:spChg chg="mod">
          <ac:chgData name="Leonardo Torres Rendón" userId="5519c58d-5575-454c-9a1e-42e16f3cfec5" providerId="ADAL" clId="{66306716-014A-4B3A-83A0-72C026C7F721}" dt="2025-03-03T22:49:04.387" v="2620" actId="1582"/>
          <ac:spMkLst>
            <pc:docMk/>
            <pc:sldMk cId="3349944891" sldId="2147480821"/>
            <ac:spMk id="15" creationId="{814410D6-D2A4-DEB1-366A-1E6988DDCAF2}"/>
          </ac:spMkLst>
        </pc:spChg>
        <pc:spChg chg="mod">
          <ac:chgData name="Leonardo Torres Rendón" userId="5519c58d-5575-454c-9a1e-42e16f3cfec5" providerId="ADAL" clId="{66306716-014A-4B3A-83A0-72C026C7F721}" dt="2025-03-03T22:49:11.993" v="2628" actId="1037"/>
          <ac:spMkLst>
            <pc:docMk/>
            <pc:sldMk cId="3349944891" sldId="2147480821"/>
            <ac:spMk id="16" creationId="{0BE33A5C-93F6-028A-DF92-0BFC3D44DCBE}"/>
          </ac:spMkLst>
        </pc:spChg>
        <pc:spChg chg="mod">
          <ac:chgData name="Leonardo Torres Rendón" userId="5519c58d-5575-454c-9a1e-42e16f3cfec5" providerId="ADAL" clId="{66306716-014A-4B3A-83A0-72C026C7F721}" dt="2025-03-03T22:48:42.175" v="2617" actId="571"/>
          <ac:spMkLst>
            <pc:docMk/>
            <pc:sldMk cId="3349944891" sldId="2147480821"/>
            <ac:spMk id="17" creationId="{17636838-891B-9B9C-92F9-2BFDEB450FD3}"/>
          </ac:spMkLst>
        </pc:spChg>
        <pc:spChg chg="add mod">
          <ac:chgData name="Leonardo Torres Rendón" userId="5519c58d-5575-454c-9a1e-42e16f3cfec5" providerId="ADAL" clId="{66306716-014A-4B3A-83A0-72C026C7F721}" dt="2025-03-03T22:52:17.430" v="2677" actId="12789"/>
          <ac:spMkLst>
            <pc:docMk/>
            <pc:sldMk cId="3349944891" sldId="2147480821"/>
            <ac:spMk id="18" creationId="{CD978FF3-EDE9-2D30-9A45-C96C7CED1162}"/>
          </ac:spMkLst>
        </pc:spChg>
        <pc:spChg chg="add mod">
          <ac:chgData name="Leonardo Torres Rendón" userId="5519c58d-5575-454c-9a1e-42e16f3cfec5" providerId="ADAL" clId="{66306716-014A-4B3A-83A0-72C026C7F721}" dt="2025-03-03T22:53:52.917" v="2691" actId="14100"/>
          <ac:spMkLst>
            <pc:docMk/>
            <pc:sldMk cId="3349944891" sldId="2147480821"/>
            <ac:spMk id="20" creationId="{7BE85D56-14FA-1A33-1A73-DF996FC47842}"/>
          </ac:spMkLst>
        </pc:spChg>
        <pc:spChg chg="add mod">
          <ac:chgData name="Leonardo Torres Rendón" userId="5519c58d-5575-454c-9a1e-42e16f3cfec5" providerId="ADAL" clId="{66306716-014A-4B3A-83A0-72C026C7F721}" dt="2025-03-03T22:53:52.917" v="2691" actId="14100"/>
          <ac:spMkLst>
            <pc:docMk/>
            <pc:sldMk cId="3349944891" sldId="2147480821"/>
            <ac:spMk id="21" creationId="{AAA8BFF4-044F-4B83-C92C-3E6EF91EA622}"/>
          </ac:spMkLst>
        </pc:spChg>
        <pc:spChg chg="add mod">
          <ac:chgData name="Leonardo Torres Rendón" userId="5519c58d-5575-454c-9a1e-42e16f3cfec5" providerId="ADAL" clId="{66306716-014A-4B3A-83A0-72C026C7F721}" dt="2025-03-03T23:55:47.651" v="2861" actId="1076"/>
          <ac:spMkLst>
            <pc:docMk/>
            <pc:sldMk cId="3349944891" sldId="2147480821"/>
            <ac:spMk id="22" creationId="{0E81FCF8-473F-7E39-36CC-DCB6FE9D3FB3}"/>
          </ac:spMkLst>
        </pc:spChg>
        <pc:spChg chg="add mod">
          <ac:chgData name="Leonardo Torres Rendón" userId="5519c58d-5575-454c-9a1e-42e16f3cfec5" providerId="ADAL" clId="{66306716-014A-4B3A-83A0-72C026C7F721}" dt="2025-03-03T23:55:42.970" v="2860" actId="1076"/>
          <ac:spMkLst>
            <pc:docMk/>
            <pc:sldMk cId="3349944891" sldId="2147480821"/>
            <ac:spMk id="23" creationId="{B1145449-EC45-1864-2E7F-3E5A03BE60AB}"/>
          </ac:spMkLst>
        </pc:spChg>
        <pc:spChg chg="add mod">
          <ac:chgData name="Leonardo Torres Rendón" userId="5519c58d-5575-454c-9a1e-42e16f3cfec5" providerId="ADAL" clId="{66306716-014A-4B3A-83A0-72C026C7F721}" dt="2025-03-03T23:55:03.617" v="2859" actId="1076"/>
          <ac:spMkLst>
            <pc:docMk/>
            <pc:sldMk cId="3349944891" sldId="2147480821"/>
            <ac:spMk id="24" creationId="{45F51CAF-CF28-A03C-A32C-64F668A72F4E}"/>
          </ac:spMkLst>
        </pc:spChg>
        <pc:spChg chg="add mod">
          <ac:chgData name="Leonardo Torres Rendón" userId="5519c58d-5575-454c-9a1e-42e16f3cfec5" providerId="ADAL" clId="{66306716-014A-4B3A-83A0-72C026C7F721}" dt="2025-03-03T23:54:44.005" v="2855" actId="164"/>
          <ac:spMkLst>
            <pc:docMk/>
            <pc:sldMk cId="3349944891" sldId="2147480821"/>
            <ac:spMk id="31" creationId="{C8A54E9B-3817-59B9-14D2-E36CBB86BD09}"/>
          </ac:spMkLst>
        </pc:spChg>
        <pc:spChg chg="add mod">
          <ac:chgData name="Leonardo Torres Rendón" userId="5519c58d-5575-454c-9a1e-42e16f3cfec5" providerId="ADAL" clId="{66306716-014A-4B3A-83A0-72C026C7F721}" dt="2025-03-03T23:54:44.005" v="2855" actId="164"/>
          <ac:spMkLst>
            <pc:docMk/>
            <pc:sldMk cId="3349944891" sldId="2147480821"/>
            <ac:spMk id="32" creationId="{FA47EF02-1BAE-9009-C119-85E3F10EA9E1}"/>
          </ac:spMkLst>
        </pc:spChg>
        <pc:spChg chg="add mod">
          <ac:chgData name="Leonardo Torres Rendón" userId="5519c58d-5575-454c-9a1e-42e16f3cfec5" providerId="ADAL" clId="{66306716-014A-4B3A-83A0-72C026C7F721}" dt="2025-03-03T23:54:44.005" v="2855" actId="164"/>
          <ac:spMkLst>
            <pc:docMk/>
            <pc:sldMk cId="3349944891" sldId="2147480821"/>
            <ac:spMk id="35" creationId="{19DBD761-4B48-DC3D-ED02-3BA67167B76A}"/>
          </ac:spMkLst>
        </pc:spChg>
        <pc:spChg chg="add mod">
          <ac:chgData name="Leonardo Torres Rendón" userId="5519c58d-5575-454c-9a1e-42e16f3cfec5" providerId="ADAL" clId="{66306716-014A-4B3A-83A0-72C026C7F721}" dt="2025-03-03T23:54:44.005" v="2855" actId="164"/>
          <ac:spMkLst>
            <pc:docMk/>
            <pc:sldMk cId="3349944891" sldId="2147480821"/>
            <ac:spMk id="38" creationId="{879A3A36-CB0A-D998-BA68-95CC388EFD81}"/>
          </ac:spMkLst>
        </pc:spChg>
        <pc:spChg chg="add mod">
          <ac:chgData name="Leonardo Torres Rendón" userId="5519c58d-5575-454c-9a1e-42e16f3cfec5" providerId="ADAL" clId="{66306716-014A-4B3A-83A0-72C026C7F721}" dt="2025-03-03T23:54:44.005" v="2855" actId="164"/>
          <ac:spMkLst>
            <pc:docMk/>
            <pc:sldMk cId="3349944891" sldId="2147480821"/>
            <ac:spMk id="43" creationId="{8B423308-847B-FDA7-9160-50B75845CB66}"/>
          </ac:spMkLst>
        </pc:spChg>
        <pc:spChg chg="add mod">
          <ac:chgData name="Leonardo Torres Rendón" userId="5519c58d-5575-454c-9a1e-42e16f3cfec5" providerId="ADAL" clId="{66306716-014A-4B3A-83A0-72C026C7F721}" dt="2025-03-03T23:54:44.005" v="2855" actId="164"/>
          <ac:spMkLst>
            <pc:docMk/>
            <pc:sldMk cId="3349944891" sldId="2147480821"/>
            <ac:spMk id="44" creationId="{4716F605-81B7-839D-2C4D-D713BE127379}"/>
          </ac:spMkLst>
        </pc:spChg>
        <pc:spChg chg="add mod">
          <ac:chgData name="Leonardo Torres Rendón" userId="5519c58d-5575-454c-9a1e-42e16f3cfec5" providerId="ADAL" clId="{66306716-014A-4B3A-83A0-72C026C7F721}" dt="2025-03-03T23:54:44.005" v="2855" actId="164"/>
          <ac:spMkLst>
            <pc:docMk/>
            <pc:sldMk cId="3349944891" sldId="2147480821"/>
            <ac:spMk id="45" creationId="{4670B0C5-5053-B49E-73FA-4AF4D3EDF76F}"/>
          </ac:spMkLst>
        </pc:spChg>
        <pc:spChg chg="add mod">
          <ac:chgData name="Leonardo Torres Rendón" userId="5519c58d-5575-454c-9a1e-42e16f3cfec5" providerId="ADAL" clId="{66306716-014A-4B3A-83A0-72C026C7F721}" dt="2025-03-03T23:56:48.464" v="2905" actId="1076"/>
          <ac:spMkLst>
            <pc:docMk/>
            <pc:sldMk cId="3349944891" sldId="2147480821"/>
            <ac:spMk id="47" creationId="{AE911668-8942-2E20-5292-D3E0563AFF7D}"/>
          </ac:spMkLst>
        </pc:spChg>
        <pc:spChg chg="add mod">
          <ac:chgData name="Leonardo Torres Rendón" userId="5519c58d-5575-454c-9a1e-42e16f3cfec5" providerId="ADAL" clId="{66306716-014A-4B3A-83A0-72C026C7F721}" dt="2025-03-03T23:56:54.770" v="2906" actId="1076"/>
          <ac:spMkLst>
            <pc:docMk/>
            <pc:sldMk cId="3349944891" sldId="2147480821"/>
            <ac:spMk id="48" creationId="{4013C276-A4EA-0AF0-00ED-1A88248B69A7}"/>
          </ac:spMkLst>
        </pc:spChg>
        <pc:spChg chg="add mod">
          <ac:chgData name="Leonardo Torres Rendón" userId="5519c58d-5575-454c-9a1e-42e16f3cfec5" providerId="ADAL" clId="{66306716-014A-4B3A-83A0-72C026C7F721}" dt="2025-03-03T23:57:22.674" v="2928" actId="1076"/>
          <ac:spMkLst>
            <pc:docMk/>
            <pc:sldMk cId="3349944891" sldId="2147480821"/>
            <ac:spMk id="49" creationId="{52118B83-671A-3933-0EDB-9644DE5BE31C}"/>
          </ac:spMkLst>
        </pc:spChg>
        <pc:spChg chg="add mod">
          <ac:chgData name="Leonardo Torres Rendón" userId="5519c58d-5575-454c-9a1e-42e16f3cfec5" providerId="ADAL" clId="{66306716-014A-4B3A-83A0-72C026C7F721}" dt="2025-03-03T23:57:41.492" v="2945" actId="14100"/>
          <ac:spMkLst>
            <pc:docMk/>
            <pc:sldMk cId="3349944891" sldId="2147480821"/>
            <ac:spMk id="50" creationId="{06B72940-3FF1-9990-FF2C-47DDC646E672}"/>
          </ac:spMkLst>
        </pc:spChg>
        <pc:spChg chg="add mod">
          <ac:chgData name="Leonardo Torres Rendón" userId="5519c58d-5575-454c-9a1e-42e16f3cfec5" providerId="ADAL" clId="{66306716-014A-4B3A-83A0-72C026C7F721}" dt="2025-03-03T23:58:07.627" v="2975" actId="1076"/>
          <ac:spMkLst>
            <pc:docMk/>
            <pc:sldMk cId="3349944891" sldId="2147480821"/>
            <ac:spMk id="51" creationId="{A95B44F1-A143-1F71-3E0C-3257FA98C773}"/>
          </ac:spMkLst>
        </pc:spChg>
        <pc:grpChg chg="add mod">
          <ac:chgData name="Leonardo Torres Rendón" userId="5519c58d-5575-454c-9a1e-42e16f3cfec5" providerId="ADAL" clId="{66306716-014A-4B3A-83A0-72C026C7F721}" dt="2025-03-03T23:58:50.988" v="2979" actId="1076"/>
          <ac:grpSpMkLst>
            <pc:docMk/>
            <pc:sldMk cId="3349944891" sldId="2147480821"/>
            <ac:grpSpMk id="13" creationId="{54242B82-9DFB-9665-85B6-318E2C69D213}"/>
          </ac:grpSpMkLst>
        </pc:grpChg>
        <pc:grpChg chg="add mod">
          <ac:chgData name="Leonardo Torres Rendón" userId="5519c58d-5575-454c-9a1e-42e16f3cfec5" providerId="ADAL" clId="{66306716-014A-4B3A-83A0-72C026C7F721}" dt="2025-03-03T22:52:17.430" v="2677" actId="12789"/>
          <ac:grpSpMkLst>
            <pc:docMk/>
            <pc:sldMk cId="3349944891" sldId="2147480821"/>
            <ac:grpSpMk id="14" creationId="{84A1186B-9275-DEB9-3164-B1BEAEB97A7A}"/>
          </ac:grpSpMkLst>
        </pc:grpChg>
        <pc:grpChg chg="add mod">
          <ac:chgData name="Leonardo Torres Rendón" userId="5519c58d-5575-454c-9a1e-42e16f3cfec5" providerId="ADAL" clId="{66306716-014A-4B3A-83A0-72C026C7F721}" dt="2025-03-03T23:58:57.367" v="2981" actId="554"/>
          <ac:grpSpMkLst>
            <pc:docMk/>
            <pc:sldMk cId="3349944891" sldId="2147480821"/>
            <ac:grpSpMk id="46" creationId="{0691617A-04B5-9C2C-9F30-8FC6E2D26D61}"/>
          </ac:grpSpMkLst>
        </pc:grpChg>
        <pc:picChg chg="add mod modCrop">
          <ac:chgData name="Leonardo Torres Rendón" userId="5519c58d-5575-454c-9a1e-42e16f3cfec5" providerId="ADAL" clId="{66306716-014A-4B3A-83A0-72C026C7F721}" dt="2025-03-03T23:51:32.971" v="2821" actId="1076"/>
          <ac:picMkLst>
            <pc:docMk/>
            <pc:sldMk cId="3349944891" sldId="2147480821"/>
            <ac:picMk id="9" creationId="{9D557265-DBE1-3B03-4096-C587A2A3E196}"/>
          </ac:picMkLst>
        </pc:picChg>
        <pc:picChg chg="add mod">
          <ac:chgData name="Leonardo Torres Rendón" userId="5519c58d-5575-454c-9a1e-42e16f3cfec5" providerId="ADAL" clId="{66306716-014A-4B3A-83A0-72C026C7F721}" dt="2025-03-03T23:53:58.273" v="2845" actId="1076"/>
          <ac:picMkLst>
            <pc:docMk/>
            <pc:sldMk cId="3349944891" sldId="2147480821"/>
            <ac:picMk id="19" creationId="{0D0C8899-6948-8437-90B2-5C704A16E850}"/>
          </ac:picMkLst>
        </pc:picChg>
        <pc:cxnChg chg="add mod">
          <ac:chgData name="Leonardo Torres Rendón" userId="5519c58d-5575-454c-9a1e-42e16f3cfec5" providerId="ADAL" clId="{66306716-014A-4B3A-83A0-72C026C7F721}" dt="2025-03-03T23:54:44.005" v="2855" actId="164"/>
          <ac:cxnSpMkLst>
            <pc:docMk/>
            <pc:sldMk cId="3349944891" sldId="2147480821"/>
            <ac:cxnSpMk id="33" creationId="{E183E5B3-0B25-8637-F149-7657C449B5D9}"/>
          </ac:cxnSpMkLst>
        </pc:cxnChg>
        <pc:cxnChg chg="add mod">
          <ac:chgData name="Leonardo Torres Rendón" userId="5519c58d-5575-454c-9a1e-42e16f3cfec5" providerId="ADAL" clId="{66306716-014A-4B3A-83A0-72C026C7F721}" dt="2025-03-03T23:53:47.743" v="2843" actId="555"/>
          <ac:cxnSpMkLst>
            <pc:docMk/>
            <pc:sldMk cId="3349944891" sldId="2147480821"/>
            <ac:cxnSpMk id="37" creationId="{9207B347-93C2-1583-385C-2EFE0CE0AA50}"/>
          </ac:cxnSpMkLst>
        </pc:cxnChg>
        <pc:cxnChg chg="add mod">
          <ac:chgData name="Leonardo Torres Rendón" userId="5519c58d-5575-454c-9a1e-42e16f3cfec5" providerId="ADAL" clId="{66306716-014A-4B3A-83A0-72C026C7F721}" dt="2025-03-03T23:54:44.005" v="2855" actId="164"/>
          <ac:cxnSpMkLst>
            <pc:docMk/>
            <pc:sldMk cId="3349944891" sldId="2147480821"/>
            <ac:cxnSpMk id="42" creationId="{EFCFD1DF-DD2D-E0ED-4D5B-1AAAB24AB469}"/>
          </ac:cxnSpMkLst>
        </pc:cxnChg>
        <pc:cxnChg chg="add mod">
          <ac:chgData name="Leonardo Torres Rendón" userId="5519c58d-5575-454c-9a1e-42e16f3cfec5" providerId="ADAL" clId="{66306716-014A-4B3A-83A0-72C026C7F721}" dt="2025-03-03T23:59:04.766" v="2983" actId="1076"/>
          <ac:cxnSpMkLst>
            <pc:docMk/>
            <pc:sldMk cId="3349944891" sldId="2147480821"/>
            <ac:cxnSpMk id="53" creationId="{F8B3FBF6-D45B-6547-1306-72A0214A015A}"/>
          </ac:cxnSpMkLst>
        </pc:cxnChg>
      </pc:sldChg>
      <pc:sldChg chg="addSp delSp modSp add mod">
        <pc:chgData name="Leonardo Torres Rendón" userId="5519c58d-5575-454c-9a1e-42e16f3cfec5" providerId="ADAL" clId="{66306716-014A-4B3A-83A0-72C026C7F721}" dt="2025-03-03T23:50:03.046" v="2819" actId="692"/>
        <pc:sldMkLst>
          <pc:docMk/>
          <pc:sldMk cId="1558569887" sldId="2147480822"/>
        </pc:sldMkLst>
        <pc:spChg chg="mod">
          <ac:chgData name="Leonardo Torres Rendón" userId="5519c58d-5575-454c-9a1e-42e16f3cfec5" providerId="ADAL" clId="{66306716-014A-4B3A-83A0-72C026C7F721}" dt="2025-03-03T23:40:20.346" v="2793"/>
          <ac:spMkLst>
            <pc:docMk/>
            <pc:sldMk cId="1558569887" sldId="2147480822"/>
            <ac:spMk id="8" creationId="{37041487-4461-C7DC-D4CC-E6C5253AD55E}"/>
          </ac:spMkLst>
        </pc:spChg>
        <pc:spChg chg="mod">
          <ac:chgData name="Leonardo Torres Rendón" userId="5519c58d-5575-454c-9a1e-42e16f3cfec5" providerId="ADAL" clId="{66306716-014A-4B3A-83A0-72C026C7F721}" dt="2025-03-03T23:40:20.346" v="2793"/>
          <ac:spMkLst>
            <pc:docMk/>
            <pc:sldMk cId="1558569887" sldId="2147480822"/>
            <ac:spMk id="17" creationId="{A2F02531-8352-17A0-3354-4515BABB89A4}"/>
          </ac:spMkLst>
        </pc:spChg>
        <pc:spChg chg="mod">
          <ac:chgData name="Leonardo Torres Rendón" userId="5519c58d-5575-454c-9a1e-42e16f3cfec5" providerId="ADAL" clId="{66306716-014A-4B3A-83A0-72C026C7F721}" dt="2025-03-03T23:40:20.346" v="2793"/>
          <ac:spMkLst>
            <pc:docMk/>
            <pc:sldMk cId="1558569887" sldId="2147480822"/>
            <ac:spMk id="18" creationId="{3E07A375-C385-3279-5BCD-1015E7C629B2}"/>
          </ac:spMkLst>
        </pc:spChg>
        <pc:spChg chg="mod">
          <ac:chgData name="Leonardo Torres Rendón" userId="5519c58d-5575-454c-9a1e-42e16f3cfec5" providerId="ADAL" clId="{66306716-014A-4B3A-83A0-72C026C7F721}" dt="2025-03-03T23:40:20.346" v="2793"/>
          <ac:spMkLst>
            <pc:docMk/>
            <pc:sldMk cId="1558569887" sldId="2147480822"/>
            <ac:spMk id="1379" creationId="{88E6A6CB-2FD8-21FD-72F9-BF0F7E654123}"/>
          </ac:spMkLst>
        </pc:spChg>
        <pc:spChg chg="mod">
          <ac:chgData name="Leonardo Torres Rendón" userId="5519c58d-5575-454c-9a1e-42e16f3cfec5" providerId="ADAL" clId="{66306716-014A-4B3A-83A0-72C026C7F721}" dt="2025-03-03T23:40:20.346" v="2793"/>
          <ac:spMkLst>
            <pc:docMk/>
            <pc:sldMk cId="1558569887" sldId="2147480822"/>
            <ac:spMk id="1422" creationId="{E2C3CE57-362D-F458-8338-4A6CD93222AC}"/>
          </ac:spMkLst>
        </pc:spChg>
        <pc:spChg chg="mod">
          <ac:chgData name="Leonardo Torres Rendón" userId="5519c58d-5575-454c-9a1e-42e16f3cfec5" providerId="ADAL" clId="{66306716-014A-4B3A-83A0-72C026C7F721}" dt="2025-03-03T23:40:20.346" v="2793"/>
          <ac:spMkLst>
            <pc:docMk/>
            <pc:sldMk cId="1558569887" sldId="2147480822"/>
            <ac:spMk id="1426" creationId="{EE47DFE4-7BE4-2030-2E95-6BBCAACCCB20}"/>
          </ac:spMkLst>
        </pc:spChg>
        <pc:spChg chg="mod">
          <ac:chgData name="Leonardo Torres Rendón" userId="5519c58d-5575-454c-9a1e-42e16f3cfec5" providerId="ADAL" clId="{66306716-014A-4B3A-83A0-72C026C7F721}" dt="2025-03-03T23:40:57.446" v="2798"/>
          <ac:spMkLst>
            <pc:docMk/>
            <pc:sldMk cId="1558569887" sldId="2147480822"/>
            <ac:spMk id="1512" creationId="{F086D695-FADF-AA93-509B-585A5417336D}"/>
          </ac:spMkLst>
        </pc:spChg>
        <pc:spChg chg="mod">
          <ac:chgData name="Leonardo Torres Rendón" userId="5519c58d-5575-454c-9a1e-42e16f3cfec5" providerId="ADAL" clId="{66306716-014A-4B3A-83A0-72C026C7F721}" dt="2025-03-03T23:40:57.446" v="2798"/>
          <ac:spMkLst>
            <pc:docMk/>
            <pc:sldMk cId="1558569887" sldId="2147480822"/>
            <ac:spMk id="1513" creationId="{2C91E046-D302-D67D-7E24-D8E3D1A6123F}"/>
          </ac:spMkLst>
        </pc:spChg>
        <pc:spChg chg="mod">
          <ac:chgData name="Leonardo Torres Rendón" userId="5519c58d-5575-454c-9a1e-42e16f3cfec5" providerId="ADAL" clId="{66306716-014A-4B3A-83A0-72C026C7F721}" dt="2025-03-03T23:47:26.211" v="2815" actId="165"/>
          <ac:spMkLst>
            <pc:docMk/>
            <pc:sldMk cId="1558569887" sldId="2147480822"/>
            <ac:spMk id="1522" creationId="{35A19707-D12C-C0ED-ADA9-34F0C4016F28}"/>
          </ac:spMkLst>
        </pc:spChg>
        <pc:spChg chg="mod">
          <ac:chgData name="Leonardo Torres Rendón" userId="5519c58d-5575-454c-9a1e-42e16f3cfec5" providerId="ADAL" clId="{66306716-014A-4B3A-83A0-72C026C7F721}" dt="2025-03-03T23:47:26.211" v="2815" actId="165"/>
          <ac:spMkLst>
            <pc:docMk/>
            <pc:sldMk cId="1558569887" sldId="2147480822"/>
            <ac:spMk id="1523" creationId="{34B83B7A-69D2-8E2D-C4B6-ABA7377C0FE2}"/>
          </ac:spMkLst>
        </pc:spChg>
        <pc:spChg chg="mod">
          <ac:chgData name="Leonardo Torres Rendón" userId="5519c58d-5575-454c-9a1e-42e16f3cfec5" providerId="ADAL" clId="{66306716-014A-4B3A-83A0-72C026C7F721}" dt="2025-03-03T23:47:26.211" v="2815" actId="165"/>
          <ac:spMkLst>
            <pc:docMk/>
            <pc:sldMk cId="1558569887" sldId="2147480822"/>
            <ac:spMk id="1526" creationId="{5E097204-9F94-5CC7-B9A9-A08118BF5F4D}"/>
          </ac:spMkLst>
        </pc:spChg>
        <pc:spChg chg="mod">
          <ac:chgData name="Leonardo Torres Rendón" userId="5519c58d-5575-454c-9a1e-42e16f3cfec5" providerId="ADAL" clId="{66306716-014A-4B3A-83A0-72C026C7F721}" dt="2025-03-03T23:47:26.211" v="2815" actId="165"/>
          <ac:spMkLst>
            <pc:docMk/>
            <pc:sldMk cId="1558569887" sldId="2147480822"/>
            <ac:spMk id="1527" creationId="{AFB24593-A392-58C6-8348-88CB8E277484}"/>
          </ac:spMkLst>
        </pc:spChg>
        <pc:grpChg chg="mod">
          <ac:chgData name="Leonardo Torres Rendón" userId="5519c58d-5575-454c-9a1e-42e16f3cfec5" providerId="ADAL" clId="{66306716-014A-4B3A-83A0-72C026C7F721}" dt="2025-03-03T23:47:34.776" v="2818" actId="12788"/>
          <ac:grpSpMkLst>
            <pc:docMk/>
            <pc:sldMk cId="1558569887" sldId="2147480822"/>
            <ac:grpSpMk id="5" creationId="{99EC4D82-2648-81BF-1A35-C591AF1B2646}"/>
          </ac:grpSpMkLst>
        </pc:grpChg>
        <pc:grpChg chg="add mod">
          <ac:chgData name="Leonardo Torres Rendón" userId="5519c58d-5575-454c-9a1e-42e16f3cfec5" providerId="ADAL" clId="{66306716-014A-4B3A-83A0-72C026C7F721}" dt="2025-03-03T23:41:02.431" v="2799" actId="1076"/>
          <ac:grpSpMkLst>
            <pc:docMk/>
            <pc:sldMk cId="1558569887" sldId="2147480822"/>
            <ac:grpSpMk id="1511" creationId="{C04AC35F-B93B-0EFB-8BDE-845F8A5C97CF}"/>
          </ac:grpSpMkLst>
        </pc:grpChg>
        <pc:grpChg chg="add mod topLvl">
          <ac:chgData name="Leonardo Torres Rendón" userId="5519c58d-5575-454c-9a1e-42e16f3cfec5" providerId="ADAL" clId="{66306716-014A-4B3A-83A0-72C026C7F721}" dt="2025-03-03T23:47:31.382" v="2817" actId="164"/>
          <ac:grpSpMkLst>
            <pc:docMk/>
            <pc:sldMk cId="1558569887" sldId="2147480822"/>
            <ac:grpSpMk id="1521" creationId="{DD43CED2-3CB9-7EDC-A704-90FEB34AF2B1}"/>
          </ac:grpSpMkLst>
        </pc:grpChg>
        <pc:grpChg chg="add mod topLvl">
          <ac:chgData name="Leonardo Torres Rendón" userId="5519c58d-5575-454c-9a1e-42e16f3cfec5" providerId="ADAL" clId="{66306716-014A-4B3A-83A0-72C026C7F721}" dt="2025-03-03T23:47:31.382" v="2817" actId="164"/>
          <ac:grpSpMkLst>
            <pc:docMk/>
            <pc:sldMk cId="1558569887" sldId="2147480822"/>
            <ac:grpSpMk id="1525" creationId="{4682C595-6228-6717-4D15-5D87E90E8433}"/>
          </ac:grpSpMkLst>
        </pc:grpChg>
        <pc:grpChg chg="add mod">
          <ac:chgData name="Leonardo Torres Rendón" userId="5519c58d-5575-454c-9a1e-42e16f3cfec5" providerId="ADAL" clId="{66306716-014A-4B3A-83A0-72C026C7F721}" dt="2025-03-03T23:47:34.776" v="2818" actId="12788"/>
          <ac:grpSpMkLst>
            <pc:docMk/>
            <pc:sldMk cId="1558569887" sldId="2147480822"/>
            <ac:grpSpMk id="1530" creationId="{DFE31890-E1AE-3A69-787B-2E395F635B61}"/>
          </ac:grpSpMkLst>
        </pc:grpChg>
        <pc:picChg chg="mod">
          <ac:chgData name="Leonardo Torres Rendón" userId="5519c58d-5575-454c-9a1e-42e16f3cfec5" providerId="ADAL" clId="{66306716-014A-4B3A-83A0-72C026C7F721}" dt="2025-03-03T23:40:57.446" v="2798"/>
          <ac:picMkLst>
            <pc:docMk/>
            <pc:sldMk cId="1558569887" sldId="2147480822"/>
            <ac:picMk id="1514" creationId="{1259D2F6-91DF-9862-7A4E-009E8382C89A}"/>
          </ac:picMkLst>
        </pc:picChg>
        <pc:picChg chg="mod">
          <ac:chgData name="Leonardo Torres Rendón" userId="5519c58d-5575-454c-9a1e-42e16f3cfec5" providerId="ADAL" clId="{66306716-014A-4B3A-83A0-72C026C7F721}" dt="2025-03-03T23:47:26.211" v="2815" actId="165"/>
          <ac:picMkLst>
            <pc:docMk/>
            <pc:sldMk cId="1558569887" sldId="2147480822"/>
            <ac:picMk id="1524" creationId="{DBD8886E-FFE9-F659-9D81-4854A0F6D755}"/>
          </ac:picMkLst>
        </pc:picChg>
        <pc:picChg chg="mod">
          <ac:chgData name="Leonardo Torres Rendón" userId="5519c58d-5575-454c-9a1e-42e16f3cfec5" providerId="ADAL" clId="{66306716-014A-4B3A-83A0-72C026C7F721}" dt="2025-03-03T23:47:26.211" v="2815" actId="165"/>
          <ac:picMkLst>
            <pc:docMk/>
            <pc:sldMk cId="1558569887" sldId="2147480822"/>
            <ac:picMk id="1528" creationId="{8C5481AA-F8F0-5127-DC8E-9A5554A362A6}"/>
          </ac:picMkLst>
        </pc:picChg>
        <pc:cxnChg chg="add mod">
          <ac:chgData name="Leonardo Torres Rendón" userId="5519c58d-5575-454c-9a1e-42e16f3cfec5" providerId="ADAL" clId="{66306716-014A-4B3A-83A0-72C026C7F721}" dt="2025-03-03T23:42:08.522" v="2807" actId="208"/>
          <ac:cxnSpMkLst>
            <pc:docMk/>
            <pc:sldMk cId="1558569887" sldId="2147480822"/>
            <ac:cxnSpMk id="1516" creationId="{ED1D9886-E60A-5858-7C71-4DB59621B4D6}"/>
          </ac:cxnSpMkLst>
        </pc:cxnChg>
        <pc:cxnChg chg="add mod">
          <ac:chgData name="Leonardo Torres Rendón" userId="5519c58d-5575-454c-9a1e-42e16f3cfec5" providerId="ADAL" clId="{66306716-014A-4B3A-83A0-72C026C7F721}" dt="2025-03-03T23:50:03.046" v="2819" actId="692"/>
          <ac:cxnSpMkLst>
            <pc:docMk/>
            <pc:sldMk cId="1558569887" sldId="2147480822"/>
            <ac:cxnSpMk id="1518" creationId="{35481958-4DC6-C55B-CFFD-2FE86050F7FB}"/>
          </ac:cxnSpMkLst>
        </pc:cxnChg>
      </pc:sldChg>
    </pc:docChg>
  </pc:docChgLst>
  <pc:docChgLst>
    <pc:chgData name="Alfredo Sosa" userId="S::alfredo.sosa@mystratis.com::83509031-0ad5-40ad-b5b4-0a00e85eadc2" providerId="AD" clId="Web-{1404A1A9-9FAC-41F0-8232-CB986BFC6B43}"/>
    <pc:docChg chg="modSld">
      <pc:chgData name="Alfredo Sosa" userId="S::alfredo.sosa@mystratis.com::83509031-0ad5-40ad-b5b4-0a00e85eadc2" providerId="AD" clId="Web-{1404A1A9-9FAC-41F0-8232-CB986BFC6B43}" dt="2025-02-27T15:48:23.543" v="2" actId="20577"/>
      <pc:docMkLst>
        <pc:docMk/>
      </pc:docMkLst>
      <pc:sldChg chg="modSp">
        <pc:chgData name="Alfredo Sosa" userId="S::alfredo.sosa@mystratis.com::83509031-0ad5-40ad-b5b4-0a00e85eadc2" providerId="AD" clId="Web-{1404A1A9-9FAC-41F0-8232-CB986BFC6B43}" dt="2025-02-27T15:48:23.543" v="2" actId="20577"/>
        <pc:sldMkLst>
          <pc:docMk/>
          <pc:sldMk cId="1940940105" sldId="2147480812"/>
        </pc:sldMkLst>
        <pc:spChg chg="mod">
          <ac:chgData name="Alfredo Sosa" userId="S::alfredo.sosa@mystratis.com::83509031-0ad5-40ad-b5b4-0a00e85eadc2" providerId="AD" clId="Web-{1404A1A9-9FAC-41F0-8232-CB986BFC6B43}" dt="2025-02-27T15:48:23.543" v="2" actId="20577"/>
          <ac:spMkLst>
            <pc:docMk/>
            <pc:sldMk cId="1940940105" sldId="2147480812"/>
            <ac:spMk id="15" creationId="{30488ECC-4356-94D2-0A59-88D841EC8705}"/>
          </ac:spMkLst>
        </pc:spChg>
      </pc:sldChg>
    </pc:docChg>
  </pc:docChgLst>
  <pc:docChgLst>
    <pc:chgData name="Oscar Cruz Albor" userId="c66e5b71-848a-4c4d-8da4-02e8c62ab2f3" providerId="ADAL" clId="{5628FA4D-DB47-4D3D-AC7F-4249CEDF301D}"/>
    <pc:docChg chg="undo custSel modSld">
      <pc:chgData name="Oscar Cruz Albor" userId="c66e5b71-848a-4c4d-8da4-02e8c62ab2f3" providerId="ADAL" clId="{5628FA4D-DB47-4D3D-AC7F-4249CEDF301D}" dt="2025-03-04T02:49:06.222" v="282" actId="207"/>
      <pc:docMkLst>
        <pc:docMk/>
      </pc:docMkLst>
      <pc:sldChg chg="modSp mod">
        <pc:chgData name="Oscar Cruz Albor" userId="c66e5b71-848a-4c4d-8da4-02e8c62ab2f3" providerId="ADAL" clId="{5628FA4D-DB47-4D3D-AC7F-4249CEDF301D}" dt="2025-03-04T02:28:56.124" v="126" actId="207"/>
        <pc:sldMkLst>
          <pc:docMk/>
          <pc:sldMk cId="316422431" sldId="308"/>
        </pc:sldMkLst>
        <pc:spChg chg="mod">
          <ac:chgData name="Oscar Cruz Albor" userId="c66e5b71-848a-4c4d-8da4-02e8c62ab2f3" providerId="ADAL" clId="{5628FA4D-DB47-4D3D-AC7F-4249CEDF301D}" dt="2025-03-04T02:28:53.395" v="125" actId="207"/>
          <ac:spMkLst>
            <pc:docMk/>
            <pc:sldMk cId="316422431" sldId="308"/>
            <ac:spMk id="100" creationId="{00000000-0000-0000-0000-000000000000}"/>
          </ac:spMkLst>
        </pc:spChg>
        <pc:spChg chg="mod ord">
          <ac:chgData name="Oscar Cruz Albor" userId="c66e5b71-848a-4c4d-8da4-02e8c62ab2f3" providerId="ADAL" clId="{5628FA4D-DB47-4D3D-AC7F-4249CEDF301D}" dt="2025-03-04T02:28:56.124" v="126" actId="207"/>
          <ac:spMkLst>
            <pc:docMk/>
            <pc:sldMk cId="316422431" sldId="308"/>
            <ac:spMk id="115" creationId="{00000000-0000-0000-0000-000000000000}"/>
          </ac:spMkLst>
        </pc:spChg>
        <pc:spChg chg="mod">
          <ac:chgData name="Oscar Cruz Albor" userId="c66e5b71-848a-4c4d-8da4-02e8c62ab2f3" providerId="ADAL" clId="{5628FA4D-DB47-4D3D-AC7F-4249CEDF301D}" dt="2025-03-04T02:26:18.985" v="112" actId="1036"/>
          <ac:spMkLst>
            <pc:docMk/>
            <pc:sldMk cId="316422431" sldId="308"/>
            <ac:spMk id="117" creationId="{00000000-0000-0000-0000-000000000000}"/>
          </ac:spMkLst>
        </pc:spChg>
        <pc:spChg chg="mod">
          <ac:chgData name="Oscar Cruz Albor" userId="c66e5b71-848a-4c4d-8da4-02e8c62ab2f3" providerId="ADAL" clId="{5628FA4D-DB47-4D3D-AC7F-4249CEDF301D}" dt="2025-03-04T02:19:47.183" v="4" actId="2711"/>
          <ac:spMkLst>
            <pc:docMk/>
            <pc:sldMk cId="316422431" sldId="308"/>
            <ac:spMk id="170" creationId="{00000000-0000-0000-0000-000000000000}"/>
          </ac:spMkLst>
        </pc:spChg>
        <pc:spChg chg="mod">
          <ac:chgData name="Oscar Cruz Albor" userId="c66e5b71-848a-4c4d-8da4-02e8c62ab2f3" providerId="ADAL" clId="{5628FA4D-DB47-4D3D-AC7F-4249CEDF301D}" dt="2025-03-04T02:19:47.183" v="4" actId="2711"/>
          <ac:spMkLst>
            <pc:docMk/>
            <pc:sldMk cId="316422431" sldId="308"/>
            <ac:spMk id="171" creationId="{00000000-0000-0000-0000-000000000000}"/>
          </ac:spMkLst>
        </pc:spChg>
        <pc:spChg chg="mod">
          <ac:chgData name="Oscar Cruz Albor" userId="c66e5b71-848a-4c4d-8da4-02e8c62ab2f3" providerId="ADAL" clId="{5628FA4D-DB47-4D3D-AC7F-4249CEDF301D}" dt="2025-03-04T02:27:41.288" v="120" actId="207"/>
          <ac:spMkLst>
            <pc:docMk/>
            <pc:sldMk cId="316422431" sldId="308"/>
            <ac:spMk id="258" creationId="{00000000-0000-0000-0000-000000000000}"/>
          </ac:spMkLst>
        </pc:spChg>
      </pc:sldChg>
      <pc:sldChg chg="modSp mod">
        <pc:chgData name="Oscar Cruz Albor" userId="c66e5b71-848a-4c4d-8da4-02e8c62ab2f3" providerId="ADAL" clId="{5628FA4D-DB47-4D3D-AC7F-4249CEDF301D}" dt="2025-03-04T02:32:39.551" v="208" actId="2711"/>
        <pc:sldMkLst>
          <pc:docMk/>
          <pc:sldMk cId="2108733470" sldId="2147480803"/>
        </pc:sldMkLst>
        <pc:spChg chg="mod">
          <ac:chgData name="Oscar Cruz Albor" userId="c66e5b71-848a-4c4d-8da4-02e8c62ab2f3" providerId="ADAL" clId="{5628FA4D-DB47-4D3D-AC7F-4249CEDF301D}" dt="2025-03-04T02:32:04.981" v="204" actId="465"/>
          <ac:spMkLst>
            <pc:docMk/>
            <pc:sldMk cId="2108733470" sldId="2147480803"/>
            <ac:spMk id="11" creationId="{EE9BC494-4DF5-997F-D4AE-594CDAB295C9}"/>
          </ac:spMkLst>
        </pc:spChg>
        <pc:spChg chg="mod">
          <ac:chgData name="Oscar Cruz Albor" userId="c66e5b71-848a-4c4d-8da4-02e8c62ab2f3" providerId="ADAL" clId="{5628FA4D-DB47-4D3D-AC7F-4249CEDF301D}" dt="2025-03-04T02:32:39.551" v="208" actId="2711"/>
          <ac:spMkLst>
            <pc:docMk/>
            <pc:sldMk cId="2108733470" sldId="2147480803"/>
            <ac:spMk id="12" creationId="{ACCD9F5C-9DFD-C311-90D6-35D7435CD077}"/>
          </ac:spMkLst>
        </pc:spChg>
        <pc:picChg chg="mod">
          <ac:chgData name="Oscar Cruz Albor" userId="c66e5b71-848a-4c4d-8da4-02e8c62ab2f3" providerId="ADAL" clId="{5628FA4D-DB47-4D3D-AC7F-4249CEDF301D}" dt="2025-03-04T02:31:53.002" v="194" actId="1035"/>
          <ac:picMkLst>
            <pc:docMk/>
            <pc:sldMk cId="2108733470" sldId="2147480803"/>
            <ac:picMk id="13" creationId="{FF87EC91-01D4-ABB5-BEE3-4323D8266F99}"/>
          </ac:picMkLst>
        </pc:picChg>
        <pc:picChg chg="mod">
          <ac:chgData name="Oscar Cruz Albor" userId="c66e5b71-848a-4c4d-8da4-02e8c62ab2f3" providerId="ADAL" clId="{5628FA4D-DB47-4D3D-AC7F-4249CEDF301D}" dt="2025-03-04T02:31:53.002" v="194" actId="1035"/>
          <ac:picMkLst>
            <pc:docMk/>
            <pc:sldMk cId="2108733470" sldId="2147480803"/>
            <ac:picMk id="16" creationId="{EDCB522B-F5CA-667C-4954-93A417EAFC36}"/>
          </ac:picMkLst>
        </pc:picChg>
        <pc:picChg chg="mod">
          <ac:chgData name="Oscar Cruz Albor" userId="c66e5b71-848a-4c4d-8da4-02e8c62ab2f3" providerId="ADAL" clId="{5628FA4D-DB47-4D3D-AC7F-4249CEDF301D}" dt="2025-03-04T02:31:53.002" v="194" actId="1035"/>
          <ac:picMkLst>
            <pc:docMk/>
            <pc:sldMk cId="2108733470" sldId="2147480803"/>
            <ac:picMk id="17" creationId="{D358B0E2-F158-29A9-618B-608462235FC1}"/>
          </ac:picMkLst>
        </pc:picChg>
        <pc:picChg chg="mod">
          <ac:chgData name="Oscar Cruz Albor" userId="c66e5b71-848a-4c4d-8da4-02e8c62ab2f3" providerId="ADAL" clId="{5628FA4D-DB47-4D3D-AC7F-4249CEDF301D}" dt="2025-03-04T02:31:53.002" v="194" actId="1035"/>
          <ac:picMkLst>
            <pc:docMk/>
            <pc:sldMk cId="2108733470" sldId="2147480803"/>
            <ac:picMk id="18" creationId="{F6DFE6E8-46BB-2CCE-AE7D-6EFA39E16750}"/>
          </ac:picMkLst>
        </pc:picChg>
      </pc:sldChg>
      <pc:sldChg chg="modSp mod">
        <pc:chgData name="Oscar Cruz Albor" userId="c66e5b71-848a-4c4d-8da4-02e8c62ab2f3" providerId="ADAL" clId="{5628FA4D-DB47-4D3D-AC7F-4249CEDF301D}" dt="2025-03-04T02:47:25.691" v="271" actId="1076"/>
        <pc:sldMkLst>
          <pc:docMk/>
          <pc:sldMk cId="4016937299" sldId="2147480813"/>
        </pc:sldMkLst>
        <pc:spChg chg="mod">
          <ac:chgData name="Oscar Cruz Albor" userId="c66e5b71-848a-4c4d-8da4-02e8c62ab2f3" providerId="ADAL" clId="{5628FA4D-DB47-4D3D-AC7F-4249CEDF301D}" dt="2025-03-04T02:47:25.691" v="271" actId="1076"/>
          <ac:spMkLst>
            <pc:docMk/>
            <pc:sldMk cId="4016937299" sldId="2147480813"/>
            <ac:spMk id="1373" creationId="{EED470F2-2096-15F9-DD64-0EFD39A7BEBF}"/>
          </ac:spMkLst>
        </pc:spChg>
        <pc:picChg chg="mod">
          <ac:chgData name="Oscar Cruz Albor" userId="c66e5b71-848a-4c4d-8da4-02e8c62ab2f3" providerId="ADAL" clId="{5628FA4D-DB47-4D3D-AC7F-4249CEDF301D}" dt="2025-03-04T02:39:58.063" v="256" actId="1076"/>
          <ac:picMkLst>
            <pc:docMk/>
            <pc:sldMk cId="4016937299" sldId="2147480813"/>
            <ac:picMk id="1348" creationId="{4D327D59-7360-A5C5-FAF5-34ABD0D51B01}"/>
          </ac:picMkLst>
        </pc:picChg>
      </pc:sldChg>
      <pc:sldChg chg="addSp delSp modSp mod">
        <pc:chgData name="Oscar Cruz Albor" userId="c66e5b71-848a-4c4d-8da4-02e8c62ab2f3" providerId="ADAL" clId="{5628FA4D-DB47-4D3D-AC7F-4249CEDF301D}" dt="2025-03-04T02:25:34.548" v="106" actId="572"/>
        <pc:sldMkLst>
          <pc:docMk/>
          <pc:sldMk cId="2642113184" sldId="2147480816"/>
        </pc:sldMkLst>
        <pc:spChg chg="del mod">
          <ac:chgData name="Oscar Cruz Albor" userId="c66e5b71-848a-4c4d-8da4-02e8c62ab2f3" providerId="ADAL" clId="{5628FA4D-DB47-4D3D-AC7F-4249CEDF301D}" dt="2025-03-04T02:20:14.887" v="8" actId="478"/>
          <ac:spMkLst>
            <pc:docMk/>
            <pc:sldMk cId="2642113184" sldId="2147480816"/>
            <ac:spMk id="2" creationId="{2ECB4D56-685D-D604-B548-58D22018CBBD}"/>
          </ac:spMkLst>
        </pc:spChg>
        <pc:spChg chg="mod">
          <ac:chgData name="Oscar Cruz Albor" userId="c66e5b71-848a-4c4d-8da4-02e8c62ab2f3" providerId="ADAL" clId="{5628FA4D-DB47-4D3D-AC7F-4249CEDF301D}" dt="2025-03-04T02:20:10.604" v="6"/>
          <ac:spMkLst>
            <pc:docMk/>
            <pc:sldMk cId="2642113184" sldId="2147480816"/>
            <ac:spMk id="7" creationId="{7EAE94E0-4008-7B97-CE98-D282578E0BA9}"/>
          </ac:spMkLst>
        </pc:spChg>
        <pc:graphicFrameChg chg="mod modGraphic">
          <ac:chgData name="Oscar Cruz Albor" userId="c66e5b71-848a-4c4d-8da4-02e8c62ab2f3" providerId="ADAL" clId="{5628FA4D-DB47-4D3D-AC7F-4249CEDF301D}" dt="2025-03-04T02:25:34.548" v="106" actId="572"/>
          <ac:graphicFrameMkLst>
            <pc:docMk/>
            <pc:sldMk cId="2642113184" sldId="2147480816"/>
            <ac:graphicFrameMk id="5" creationId="{A9CF14BE-414F-5C0B-B613-74AF64DAD3DB}"/>
          </ac:graphicFrameMkLst>
        </pc:graphicFrameChg>
        <pc:picChg chg="add del mod">
          <ac:chgData name="Oscar Cruz Albor" userId="c66e5b71-848a-4c4d-8da4-02e8c62ab2f3" providerId="ADAL" clId="{5628FA4D-DB47-4D3D-AC7F-4249CEDF301D}" dt="2025-03-04T02:24:46.909" v="102" actId="478"/>
          <ac:picMkLst>
            <pc:docMk/>
            <pc:sldMk cId="2642113184" sldId="2147480816"/>
            <ac:picMk id="6" creationId="{5BEEA3B9-A8E0-40C4-9AE3-0AC59E73FD90}"/>
          </ac:picMkLst>
        </pc:picChg>
      </pc:sldChg>
      <pc:sldChg chg="addSp delSp modSp mod">
        <pc:chgData name="Oscar Cruz Albor" userId="c66e5b71-848a-4c4d-8da4-02e8c62ab2f3" providerId="ADAL" clId="{5628FA4D-DB47-4D3D-AC7F-4249CEDF301D}" dt="2025-03-04T02:49:06.222" v="282" actId="207"/>
        <pc:sldMkLst>
          <pc:docMk/>
          <pc:sldMk cId="62157406" sldId="2147480823"/>
        </pc:sldMkLst>
        <pc:spChg chg="mod">
          <ac:chgData name="Oscar Cruz Albor" userId="c66e5b71-848a-4c4d-8da4-02e8c62ab2f3" providerId="ADAL" clId="{5628FA4D-DB47-4D3D-AC7F-4249CEDF301D}" dt="2025-03-04T02:36:11.169" v="235" actId="122"/>
          <ac:spMkLst>
            <pc:docMk/>
            <pc:sldMk cId="62157406" sldId="2147480823"/>
            <ac:spMk id="11" creationId="{50EB200D-B56F-BCD3-DC4B-EF3D164CA970}"/>
          </ac:spMkLst>
        </pc:spChg>
        <pc:spChg chg="mod">
          <ac:chgData name="Oscar Cruz Albor" userId="c66e5b71-848a-4c4d-8da4-02e8c62ab2f3" providerId="ADAL" clId="{5628FA4D-DB47-4D3D-AC7F-4249CEDF301D}" dt="2025-03-04T02:36:20.478" v="243" actId="20577"/>
          <ac:spMkLst>
            <pc:docMk/>
            <pc:sldMk cId="62157406" sldId="2147480823"/>
            <ac:spMk id="14" creationId="{5FC69830-6EB1-3DD6-C609-C5D5CE7BBD3A}"/>
          </ac:spMkLst>
        </pc:spChg>
        <pc:spChg chg="mod">
          <ac:chgData name="Oscar Cruz Albor" userId="c66e5b71-848a-4c4d-8da4-02e8c62ab2f3" providerId="ADAL" clId="{5628FA4D-DB47-4D3D-AC7F-4249CEDF301D}" dt="2025-03-04T02:36:33.276" v="250" actId="1036"/>
          <ac:spMkLst>
            <pc:docMk/>
            <pc:sldMk cId="62157406" sldId="2147480823"/>
            <ac:spMk id="15" creationId="{F198BF90-5585-F5B9-A8B3-E5BD7D193DE7}"/>
          </ac:spMkLst>
        </pc:spChg>
        <pc:spChg chg="mod">
          <ac:chgData name="Oscar Cruz Albor" userId="c66e5b71-848a-4c4d-8da4-02e8c62ab2f3" providerId="ADAL" clId="{5628FA4D-DB47-4D3D-AC7F-4249CEDF301D}" dt="2025-03-04T02:36:11.169" v="235" actId="122"/>
          <ac:spMkLst>
            <pc:docMk/>
            <pc:sldMk cId="62157406" sldId="2147480823"/>
            <ac:spMk id="19" creationId="{2109D166-C8C4-A9EB-FE87-79CF366EEB66}"/>
          </ac:spMkLst>
        </pc:spChg>
        <pc:spChg chg="mod">
          <ac:chgData name="Oscar Cruz Albor" userId="c66e5b71-848a-4c4d-8da4-02e8c62ab2f3" providerId="ADAL" clId="{5628FA4D-DB47-4D3D-AC7F-4249CEDF301D}" dt="2025-03-04T02:36:11.169" v="235" actId="122"/>
          <ac:spMkLst>
            <pc:docMk/>
            <pc:sldMk cId="62157406" sldId="2147480823"/>
            <ac:spMk id="20" creationId="{791E4AF8-F559-35B7-F836-BEBB372BB2F6}"/>
          </ac:spMkLst>
        </pc:spChg>
        <pc:spChg chg="mod">
          <ac:chgData name="Oscar Cruz Albor" userId="c66e5b71-848a-4c4d-8da4-02e8c62ab2f3" providerId="ADAL" clId="{5628FA4D-DB47-4D3D-AC7F-4249CEDF301D}" dt="2025-03-04T02:41:02.860" v="268" actId="12789"/>
          <ac:spMkLst>
            <pc:docMk/>
            <pc:sldMk cId="62157406" sldId="2147480823"/>
            <ac:spMk id="36" creationId="{BFF96ABE-35A6-5FE2-7846-834F6DE1FE9A}"/>
          </ac:spMkLst>
        </pc:spChg>
        <pc:spChg chg="mod">
          <ac:chgData name="Oscar Cruz Albor" userId="c66e5b71-848a-4c4d-8da4-02e8c62ab2f3" providerId="ADAL" clId="{5628FA4D-DB47-4D3D-AC7F-4249CEDF301D}" dt="2025-03-04T02:40:51.975" v="266" actId="1036"/>
          <ac:spMkLst>
            <pc:docMk/>
            <pc:sldMk cId="62157406" sldId="2147480823"/>
            <ac:spMk id="42" creationId="{32D48B24-0F0A-F51F-7BC7-C499C9422390}"/>
          </ac:spMkLst>
        </pc:spChg>
        <pc:spChg chg="mod">
          <ac:chgData name="Oscar Cruz Albor" userId="c66e5b71-848a-4c4d-8da4-02e8c62ab2f3" providerId="ADAL" clId="{5628FA4D-DB47-4D3D-AC7F-4249CEDF301D}" dt="2025-03-04T02:35:23.617" v="230" actId="1035"/>
          <ac:spMkLst>
            <pc:docMk/>
            <pc:sldMk cId="62157406" sldId="2147480823"/>
            <ac:spMk id="47" creationId="{E5917F0D-8447-9128-0056-45E91DE98836}"/>
          </ac:spMkLst>
        </pc:spChg>
        <pc:spChg chg="mod">
          <ac:chgData name="Oscar Cruz Albor" userId="c66e5b71-848a-4c4d-8da4-02e8c62ab2f3" providerId="ADAL" clId="{5628FA4D-DB47-4D3D-AC7F-4249CEDF301D}" dt="2025-03-04T02:38:11.852" v="254" actId="20577"/>
          <ac:spMkLst>
            <pc:docMk/>
            <pc:sldMk cId="62157406" sldId="2147480823"/>
            <ac:spMk id="48" creationId="{F6062452-5AC3-02E6-BAEE-9FDB7BAF31D6}"/>
          </ac:spMkLst>
        </pc:spChg>
        <pc:spChg chg="mod">
          <ac:chgData name="Oscar Cruz Albor" userId="c66e5b71-848a-4c4d-8da4-02e8c62ab2f3" providerId="ADAL" clId="{5628FA4D-DB47-4D3D-AC7F-4249CEDF301D}" dt="2025-03-04T02:36:11.169" v="235" actId="122"/>
          <ac:spMkLst>
            <pc:docMk/>
            <pc:sldMk cId="62157406" sldId="2147480823"/>
            <ac:spMk id="51" creationId="{98DB76E2-54B1-A53F-3A3A-4C2ECD67E728}"/>
          </ac:spMkLst>
        </pc:spChg>
        <pc:spChg chg="mod">
          <ac:chgData name="Oscar Cruz Albor" userId="c66e5b71-848a-4c4d-8da4-02e8c62ab2f3" providerId="ADAL" clId="{5628FA4D-DB47-4D3D-AC7F-4249CEDF301D}" dt="2025-03-04T02:34:29.355" v="213" actId="113"/>
          <ac:spMkLst>
            <pc:docMk/>
            <pc:sldMk cId="62157406" sldId="2147480823"/>
            <ac:spMk id="1360" creationId="{9337CE84-FE0B-B177-D401-92A1BBEF6AE9}"/>
          </ac:spMkLst>
        </pc:spChg>
        <pc:spChg chg="mod">
          <ac:chgData name="Oscar Cruz Albor" userId="c66e5b71-848a-4c4d-8da4-02e8c62ab2f3" providerId="ADAL" clId="{5628FA4D-DB47-4D3D-AC7F-4249CEDF301D}" dt="2025-03-04T02:49:06.222" v="282" actId="207"/>
          <ac:spMkLst>
            <pc:docMk/>
            <pc:sldMk cId="62157406" sldId="2147480823"/>
            <ac:spMk id="1367" creationId="{8623176E-C224-5BAF-6C66-332C06ABF8E1}"/>
          </ac:spMkLst>
        </pc:spChg>
        <pc:spChg chg="mod">
          <ac:chgData name="Oscar Cruz Albor" userId="c66e5b71-848a-4c4d-8da4-02e8c62ab2f3" providerId="ADAL" clId="{5628FA4D-DB47-4D3D-AC7F-4249CEDF301D}" dt="2025-03-04T02:48:03.645" v="272" actId="207"/>
          <ac:spMkLst>
            <pc:docMk/>
            <pc:sldMk cId="62157406" sldId="2147480823"/>
            <ac:spMk id="1368" creationId="{A81EBAD7-F83D-C031-7F60-7A2E197EDBC6}"/>
          </ac:spMkLst>
        </pc:spChg>
        <pc:spChg chg="mod">
          <ac:chgData name="Oscar Cruz Albor" userId="c66e5b71-848a-4c4d-8da4-02e8c62ab2f3" providerId="ADAL" clId="{5628FA4D-DB47-4D3D-AC7F-4249CEDF301D}" dt="2025-03-04T02:48:31.625" v="278" actId="207"/>
          <ac:spMkLst>
            <pc:docMk/>
            <pc:sldMk cId="62157406" sldId="2147480823"/>
            <ac:spMk id="1369" creationId="{AEC344AE-311C-2DFF-C434-8E7761649EE2}"/>
          </ac:spMkLst>
        </pc:spChg>
        <pc:spChg chg="mod">
          <ac:chgData name="Oscar Cruz Albor" userId="c66e5b71-848a-4c4d-8da4-02e8c62ab2f3" providerId="ADAL" clId="{5628FA4D-DB47-4D3D-AC7F-4249CEDF301D}" dt="2025-03-04T02:34:24.639" v="211" actId="113"/>
          <ac:spMkLst>
            <pc:docMk/>
            <pc:sldMk cId="62157406" sldId="2147480823"/>
            <ac:spMk id="1372" creationId="{28836612-D83B-FFD1-AD4F-9533188F01CE}"/>
          </ac:spMkLst>
        </pc:spChg>
        <pc:picChg chg="add del mod">
          <ac:chgData name="Oscar Cruz Albor" userId="c66e5b71-848a-4c4d-8da4-02e8c62ab2f3" providerId="ADAL" clId="{5628FA4D-DB47-4D3D-AC7F-4249CEDF301D}" dt="2025-03-04T02:48:50.459" v="281" actId="478"/>
          <ac:picMkLst>
            <pc:docMk/>
            <pc:sldMk cId="62157406" sldId="2147480823"/>
            <ac:picMk id="13" creationId="{FD794945-319A-DD5B-7571-117123C6F9F8}"/>
          </ac:picMkLst>
        </pc:picChg>
        <pc:picChg chg="mod">
          <ac:chgData name="Oscar Cruz Albor" userId="c66e5b71-848a-4c4d-8da4-02e8c62ab2f3" providerId="ADAL" clId="{5628FA4D-DB47-4D3D-AC7F-4249CEDF301D}" dt="2025-03-04T02:41:02.860" v="268" actId="12789"/>
          <ac:picMkLst>
            <pc:docMk/>
            <pc:sldMk cId="62157406" sldId="2147480823"/>
            <ac:picMk id="26" creationId="{F2526641-2F78-B44F-33A7-AC276FBA1065}"/>
          </ac:picMkLst>
        </pc:picChg>
        <pc:picChg chg="mod">
          <ac:chgData name="Oscar Cruz Albor" userId="c66e5b71-848a-4c4d-8da4-02e8c62ab2f3" providerId="ADAL" clId="{5628FA4D-DB47-4D3D-AC7F-4249CEDF301D}" dt="2025-03-04T02:35:23.617" v="230" actId="1035"/>
          <ac:picMkLst>
            <pc:docMk/>
            <pc:sldMk cId="62157406" sldId="2147480823"/>
            <ac:picMk id="45" creationId="{BC03CA41-0D37-668B-7CB6-F080C7B0A167}"/>
          </ac:picMkLst>
        </pc:picChg>
      </pc:sldChg>
    </pc:docChg>
  </pc:docChgLst>
  <pc:docChgLst>
    <pc:chgData name="Claudia Castañon Perez" userId="S::claudia.castanon@mystratis.com::6d571616-6e18-462e-b46e-0030f7d50bc8" providerId="AD" clId="Web-{22476FF3-7998-97CE-218E-3C31364B6757}"/>
    <pc:docChg chg="addSld modSld modSection">
      <pc:chgData name="Claudia Castañon Perez" userId="S::claudia.castanon@mystratis.com::6d571616-6e18-462e-b46e-0030f7d50bc8" providerId="AD" clId="Web-{22476FF3-7998-97CE-218E-3C31364B6757}" dt="2025-03-13T22:05:38.392" v="16" actId="20577"/>
      <pc:docMkLst>
        <pc:docMk/>
      </pc:docMkLst>
      <pc:sldChg chg="modSp add replId">
        <pc:chgData name="Claudia Castañon Perez" userId="S::claudia.castanon@mystratis.com::6d571616-6e18-462e-b46e-0030f7d50bc8" providerId="AD" clId="Web-{22476FF3-7998-97CE-218E-3C31364B6757}" dt="2025-03-13T22:05:38.392" v="16" actId="20577"/>
        <pc:sldMkLst>
          <pc:docMk/>
          <pc:sldMk cId="3153803368" sldId="2147480825"/>
        </pc:sldMkLst>
        <pc:spChg chg="mod">
          <ac:chgData name="Claudia Castañon Perez" userId="S::claudia.castanon@mystratis.com::6d571616-6e18-462e-b46e-0030f7d50bc8" providerId="AD" clId="Web-{22476FF3-7998-97CE-218E-3C31364B6757}" dt="2025-03-13T22:05:24.111" v="12" actId="14100"/>
          <ac:spMkLst>
            <pc:docMk/>
            <pc:sldMk cId="3153803368" sldId="2147480825"/>
            <ac:spMk id="4" creationId="{C08AD21C-45E8-1425-1B29-79E5C7EAB225}"/>
          </ac:spMkLst>
        </pc:spChg>
        <pc:spChg chg="mod">
          <ac:chgData name="Claudia Castañon Perez" userId="S::claudia.castanon@mystratis.com::6d571616-6e18-462e-b46e-0030f7d50bc8" providerId="AD" clId="Web-{22476FF3-7998-97CE-218E-3C31364B6757}" dt="2025-03-13T22:05:38.392" v="16" actId="20577"/>
          <ac:spMkLst>
            <pc:docMk/>
            <pc:sldMk cId="3153803368" sldId="2147480825"/>
            <ac:spMk id="5" creationId="{C02FC67C-900E-1528-BBB0-A40BAC41A018}"/>
          </ac:spMkLst>
        </pc:spChg>
      </pc:sldChg>
    </pc:docChg>
  </pc:docChgLst>
  <pc:docChgLst>
    <pc:chgData name="Alexis Ramirez" userId="a7c81f6c-ff5e-4a39-b2c7-6de722d1b62c" providerId="ADAL" clId="{CCA05BC4-E4A3-4B78-9B1C-7909B82CC38B}"/>
    <pc:docChg chg="undo custSel addSld delSld modSld sldOrd modSection">
      <pc:chgData name="Alexis Ramirez" userId="a7c81f6c-ff5e-4a39-b2c7-6de722d1b62c" providerId="ADAL" clId="{CCA05BC4-E4A3-4B78-9B1C-7909B82CC38B}" dt="2025-03-05T04:45:11.369" v="966" actId="207"/>
      <pc:docMkLst>
        <pc:docMk/>
      </pc:docMkLst>
      <pc:sldChg chg="setBg">
        <pc:chgData name="Alexis Ramirez" userId="a7c81f6c-ff5e-4a39-b2c7-6de722d1b62c" providerId="ADAL" clId="{CCA05BC4-E4A3-4B78-9B1C-7909B82CC38B}" dt="2025-03-04T04:27:47.865" v="883"/>
        <pc:sldMkLst>
          <pc:docMk/>
          <pc:sldMk cId="4171128581" sldId="259"/>
        </pc:sldMkLst>
      </pc:sldChg>
      <pc:sldChg chg="addSp modSp mod setBg">
        <pc:chgData name="Alexis Ramirez" userId="a7c81f6c-ff5e-4a39-b2c7-6de722d1b62c" providerId="ADAL" clId="{CCA05BC4-E4A3-4B78-9B1C-7909B82CC38B}" dt="2025-03-05T04:45:11.369" v="966" actId="207"/>
        <pc:sldMkLst>
          <pc:docMk/>
          <pc:sldMk cId="2541855371" sldId="267"/>
        </pc:sldMkLst>
        <pc:spChg chg="add mod">
          <ac:chgData name="Alexis Ramirez" userId="a7c81f6c-ff5e-4a39-b2c7-6de722d1b62c" providerId="ADAL" clId="{CCA05BC4-E4A3-4B78-9B1C-7909B82CC38B}" dt="2025-03-04T19:38:15.708" v="960" actId="14100"/>
          <ac:spMkLst>
            <pc:docMk/>
            <pc:sldMk cId="2541855371" sldId="267"/>
            <ac:spMk id="2" creationId="{CD674405-6959-7578-81C2-21FADA7EB30F}"/>
          </ac:spMkLst>
        </pc:spChg>
        <pc:spChg chg="mod">
          <ac:chgData name="Alexis Ramirez" userId="a7c81f6c-ff5e-4a39-b2c7-6de722d1b62c" providerId="ADAL" clId="{CCA05BC4-E4A3-4B78-9B1C-7909B82CC38B}" dt="2025-03-04T19:37:28.158" v="939" actId="20577"/>
          <ac:spMkLst>
            <pc:docMk/>
            <pc:sldMk cId="2541855371" sldId="267"/>
            <ac:spMk id="4" creationId="{78633A56-0F7E-6DF7-DA6E-7F39E8D97C72}"/>
          </ac:spMkLst>
        </pc:spChg>
        <pc:spChg chg="mod">
          <ac:chgData name="Alexis Ramirez" userId="a7c81f6c-ff5e-4a39-b2c7-6de722d1b62c" providerId="ADAL" clId="{CCA05BC4-E4A3-4B78-9B1C-7909B82CC38B}" dt="2025-03-04T19:38:47.893" v="965" actId="20577"/>
          <ac:spMkLst>
            <pc:docMk/>
            <pc:sldMk cId="2541855371" sldId="267"/>
            <ac:spMk id="5" creationId="{1A537C96-0974-5072-EBA9-CEBE6929A9AB}"/>
          </ac:spMkLst>
        </pc:spChg>
        <pc:spChg chg="mod">
          <ac:chgData name="Alexis Ramirez" userId="a7c81f6c-ff5e-4a39-b2c7-6de722d1b62c" providerId="ADAL" clId="{CCA05BC4-E4A3-4B78-9B1C-7909B82CC38B}" dt="2025-03-05T04:45:11.369" v="966" actId="207"/>
          <ac:spMkLst>
            <pc:docMk/>
            <pc:sldMk cId="2541855371" sldId="267"/>
            <ac:spMk id="6" creationId="{0AD024A1-0A71-5F37-976F-A4B0E129E6AE}"/>
          </ac:spMkLst>
        </pc:spChg>
      </pc:sldChg>
      <pc:sldChg chg="modSp mod">
        <pc:chgData name="Alexis Ramirez" userId="a7c81f6c-ff5e-4a39-b2c7-6de722d1b62c" providerId="ADAL" clId="{CCA05BC4-E4A3-4B78-9B1C-7909B82CC38B}" dt="2025-03-04T03:38:09.880" v="865" actId="207"/>
        <pc:sldMkLst>
          <pc:docMk/>
          <pc:sldMk cId="52020849" sldId="269"/>
        </pc:sldMkLst>
        <pc:spChg chg="mod">
          <ac:chgData name="Alexis Ramirez" userId="a7c81f6c-ff5e-4a39-b2c7-6de722d1b62c" providerId="ADAL" clId="{CCA05BC4-E4A3-4B78-9B1C-7909B82CC38B}" dt="2025-03-04T03:38:09.880" v="865" actId="207"/>
          <ac:spMkLst>
            <pc:docMk/>
            <pc:sldMk cId="52020849" sldId="269"/>
            <ac:spMk id="4" creationId="{395D9310-E5FF-F595-3451-144F358ADAC9}"/>
          </ac:spMkLst>
        </pc:spChg>
      </pc:sldChg>
      <pc:sldChg chg="delSp modSp mod setBg">
        <pc:chgData name="Alexis Ramirez" userId="a7c81f6c-ff5e-4a39-b2c7-6de722d1b62c" providerId="ADAL" clId="{CCA05BC4-E4A3-4B78-9B1C-7909B82CC38B}" dt="2025-03-04T03:39:43.016" v="876" actId="207"/>
        <pc:sldMkLst>
          <pc:docMk/>
          <pc:sldMk cId="316422431" sldId="308"/>
        </pc:sldMkLst>
        <pc:spChg chg="mod">
          <ac:chgData name="Alexis Ramirez" userId="a7c81f6c-ff5e-4a39-b2c7-6de722d1b62c" providerId="ADAL" clId="{CCA05BC4-E4A3-4B78-9B1C-7909B82CC38B}" dt="2025-03-04T01:56:40.316" v="310" actId="12788"/>
          <ac:spMkLst>
            <pc:docMk/>
            <pc:sldMk cId="316422431" sldId="308"/>
            <ac:spMk id="3" creationId="{00000000-0000-0000-0000-000000000000}"/>
          </ac:spMkLst>
        </pc:spChg>
        <pc:spChg chg="del">
          <ac:chgData name="Alexis Ramirez" userId="a7c81f6c-ff5e-4a39-b2c7-6de722d1b62c" providerId="ADAL" clId="{CCA05BC4-E4A3-4B78-9B1C-7909B82CC38B}" dt="2025-03-04T01:31:44.930" v="78" actId="478"/>
          <ac:spMkLst>
            <pc:docMk/>
            <pc:sldMk cId="316422431" sldId="308"/>
            <ac:spMk id="4" creationId="{E3D2A39F-37FA-4D70-FDA6-A424A521D851}"/>
          </ac:spMkLst>
        </pc:spChg>
        <pc:spChg chg="mod">
          <ac:chgData name="Alexis Ramirez" userId="a7c81f6c-ff5e-4a39-b2c7-6de722d1b62c" providerId="ADAL" clId="{CCA05BC4-E4A3-4B78-9B1C-7909B82CC38B}" dt="2025-03-04T01:59:11.039" v="359" actId="14100"/>
          <ac:spMkLst>
            <pc:docMk/>
            <pc:sldMk cId="316422431" sldId="308"/>
            <ac:spMk id="100" creationId="{00000000-0000-0000-0000-000000000000}"/>
          </ac:spMkLst>
        </pc:spChg>
        <pc:spChg chg="mod">
          <ac:chgData name="Alexis Ramirez" userId="a7c81f6c-ff5e-4a39-b2c7-6de722d1b62c" providerId="ADAL" clId="{CCA05BC4-E4A3-4B78-9B1C-7909B82CC38B}" dt="2025-03-04T01:59:20.974" v="361" actId="14100"/>
          <ac:spMkLst>
            <pc:docMk/>
            <pc:sldMk cId="316422431" sldId="308"/>
            <ac:spMk id="101" creationId="{00000000-0000-0000-0000-000000000000}"/>
          </ac:spMkLst>
        </pc:spChg>
        <pc:spChg chg="mod">
          <ac:chgData name="Alexis Ramirez" userId="a7c81f6c-ff5e-4a39-b2c7-6de722d1b62c" providerId="ADAL" clId="{CCA05BC4-E4A3-4B78-9B1C-7909B82CC38B}" dt="2025-03-04T01:51:21.568" v="244" actId="1076"/>
          <ac:spMkLst>
            <pc:docMk/>
            <pc:sldMk cId="316422431" sldId="308"/>
            <ac:spMk id="102" creationId="{00000000-0000-0000-0000-000000000000}"/>
          </ac:spMkLst>
        </pc:spChg>
        <pc:spChg chg="mod">
          <ac:chgData name="Alexis Ramirez" userId="a7c81f6c-ff5e-4a39-b2c7-6de722d1b62c" providerId="ADAL" clId="{CCA05BC4-E4A3-4B78-9B1C-7909B82CC38B}" dt="2025-03-04T01:42:30.945" v="172" actId="207"/>
          <ac:spMkLst>
            <pc:docMk/>
            <pc:sldMk cId="316422431" sldId="308"/>
            <ac:spMk id="105" creationId="{00000000-0000-0000-0000-000000000000}"/>
          </ac:spMkLst>
        </pc:spChg>
        <pc:spChg chg="mod">
          <ac:chgData name="Alexis Ramirez" userId="a7c81f6c-ff5e-4a39-b2c7-6de722d1b62c" providerId="ADAL" clId="{CCA05BC4-E4A3-4B78-9B1C-7909B82CC38B}" dt="2025-03-04T01:43:27.185" v="181" actId="207"/>
          <ac:spMkLst>
            <pc:docMk/>
            <pc:sldMk cId="316422431" sldId="308"/>
            <ac:spMk id="107"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108" creationId="{00000000-0000-0000-0000-000000000000}"/>
          </ac:spMkLst>
        </pc:spChg>
        <pc:spChg chg="mod">
          <ac:chgData name="Alexis Ramirez" userId="a7c81f6c-ff5e-4a39-b2c7-6de722d1b62c" providerId="ADAL" clId="{CCA05BC4-E4A3-4B78-9B1C-7909B82CC38B}" dt="2025-03-04T01:43:14.137" v="176" actId="207"/>
          <ac:spMkLst>
            <pc:docMk/>
            <pc:sldMk cId="316422431" sldId="308"/>
            <ac:spMk id="109" creationId="{00000000-0000-0000-0000-000000000000}"/>
          </ac:spMkLst>
        </pc:spChg>
        <pc:spChg chg="mod">
          <ac:chgData name="Alexis Ramirez" userId="a7c81f6c-ff5e-4a39-b2c7-6de722d1b62c" providerId="ADAL" clId="{CCA05BC4-E4A3-4B78-9B1C-7909B82CC38B}" dt="2025-03-04T01:43:19.954" v="178" actId="207"/>
          <ac:spMkLst>
            <pc:docMk/>
            <pc:sldMk cId="316422431" sldId="308"/>
            <ac:spMk id="110" creationId="{00000000-0000-0000-0000-000000000000}"/>
          </ac:spMkLst>
        </pc:spChg>
        <pc:spChg chg="mod">
          <ac:chgData name="Alexis Ramirez" userId="a7c81f6c-ff5e-4a39-b2c7-6de722d1b62c" providerId="ADAL" clId="{CCA05BC4-E4A3-4B78-9B1C-7909B82CC38B}" dt="2025-03-04T01:43:16.401" v="177" actId="207"/>
          <ac:spMkLst>
            <pc:docMk/>
            <pc:sldMk cId="316422431" sldId="308"/>
            <ac:spMk id="112" creationId="{00000000-0000-0000-0000-000000000000}"/>
          </ac:spMkLst>
        </pc:spChg>
        <pc:spChg chg="mod">
          <ac:chgData name="Alexis Ramirez" userId="a7c81f6c-ff5e-4a39-b2c7-6de722d1b62c" providerId="ADAL" clId="{CCA05BC4-E4A3-4B78-9B1C-7909B82CC38B}" dt="2025-03-04T01:43:34.265" v="184" actId="207"/>
          <ac:spMkLst>
            <pc:docMk/>
            <pc:sldMk cId="316422431" sldId="308"/>
            <ac:spMk id="113"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114"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115" creationId="{00000000-0000-0000-0000-000000000000}"/>
          </ac:spMkLst>
        </pc:spChg>
        <pc:spChg chg="mod">
          <ac:chgData name="Alexis Ramirez" userId="a7c81f6c-ff5e-4a39-b2c7-6de722d1b62c" providerId="ADAL" clId="{CCA05BC4-E4A3-4B78-9B1C-7909B82CC38B}" dt="2025-03-04T01:50:33.075" v="234" actId="1076"/>
          <ac:spMkLst>
            <pc:docMk/>
            <pc:sldMk cId="316422431" sldId="308"/>
            <ac:spMk id="116" creationId="{00000000-0000-0000-0000-000000000000}"/>
          </ac:spMkLst>
        </pc:spChg>
        <pc:spChg chg="mod">
          <ac:chgData name="Alexis Ramirez" userId="a7c81f6c-ff5e-4a39-b2c7-6de722d1b62c" providerId="ADAL" clId="{CCA05BC4-E4A3-4B78-9B1C-7909B82CC38B}" dt="2025-03-04T03:15:21.820" v="776" actId="207"/>
          <ac:spMkLst>
            <pc:docMk/>
            <pc:sldMk cId="316422431" sldId="308"/>
            <ac:spMk id="117" creationId="{00000000-0000-0000-0000-000000000000}"/>
          </ac:spMkLst>
        </pc:spChg>
        <pc:spChg chg="mod">
          <ac:chgData name="Alexis Ramirez" userId="a7c81f6c-ff5e-4a39-b2c7-6de722d1b62c" providerId="ADAL" clId="{CCA05BC4-E4A3-4B78-9B1C-7909B82CC38B}" dt="2025-03-04T01:40:54.953" v="161" actId="14100"/>
          <ac:spMkLst>
            <pc:docMk/>
            <pc:sldMk cId="316422431" sldId="308"/>
            <ac:spMk id="119"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149" creationId="{00000000-0000-0000-0000-000000000000}"/>
          </ac:spMkLst>
        </pc:spChg>
        <pc:spChg chg="mod">
          <ac:chgData name="Alexis Ramirez" userId="a7c81f6c-ff5e-4a39-b2c7-6de722d1b62c" providerId="ADAL" clId="{CCA05BC4-E4A3-4B78-9B1C-7909B82CC38B}" dt="2025-03-04T01:43:11.763" v="175" actId="207"/>
          <ac:spMkLst>
            <pc:docMk/>
            <pc:sldMk cId="316422431" sldId="308"/>
            <ac:spMk id="150" creationId="{00000000-0000-0000-0000-000000000000}"/>
          </ac:spMkLst>
        </pc:spChg>
        <pc:spChg chg="mod">
          <ac:chgData name="Alexis Ramirez" userId="a7c81f6c-ff5e-4a39-b2c7-6de722d1b62c" providerId="ADAL" clId="{CCA05BC4-E4A3-4B78-9B1C-7909B82CC38B}" dt="2025-03-04T01:43:09.541" v="174" actId="207"/>
          <ac:spMkLst>
            <pc:docMk/>
            <pc:sldMk cId="316422431" sldId="308"/>
            <ac:spMk id="151" creationId="{00000000-0000-0000-0000-000000000000}"/>
          </ac:spMkLst>
        </pc:spChg>
        <pc:spChg chg="mod">
          <ac:chgData name="Alexis Ramirez" userId="a7c81f6c-ff5e-4a39-b2c7-6de722d1b62c" providerId="ADAL" clId="{CCA05BC4-E4A3-4B78-9B1C-7909B82CC38B}" dt="2025-03-04T01:43:22.201" v="179" actId="207"/>
          <ac:spMkLst>
            <pc:docMk/>
            <pc:sldMk cId="316422431" sldId="308"/>
            <ac:spMk id="152"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154"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157" creationId="{00000000-0000-0000-0000-000000000000}"/>
          </ac:spMkLst>
        </pc:spChg>
        <pc:spChg chg="mod">
          <ac:chgData name="Alexis Ramirez" userId="a7c81f6c-ff5e-4a39-b2c7-6de722d1b62c" providerId="ADAL" clId="{CCA05BC4-E4A3-4B78-9B1C-7909B82CC38B}" dt="2025-03-04T01:58:23.271" v="317" actId="14100"/>
          <ac:spMkLst>
            <pc:docMk/>
            <pc:sldMk cId="316422431" sldId="308"/>
            <ac:spMk id="158" creationId="{00000000-0000-0000-0000-000000000000}"/>
          </ac:spMkLst>
        </pc:spChg>
        <pc:spChg chg="mod">
          <ac:chgData name="Alexis Ramirez" userId="a7c81f6c-ff5e-4a39-b2c7-6de722d1b62c" providerId="ADAL" clId="{CCA05BC4-E4A3-4B78-9B1C-7909B82CC38B}" dt="2025-03-04T01:43:29.385" v="182" actId="207"/>
          <ac:spMkLst>
            <pc:docMk/>
            <pc:sldMk cId="316422431" sldId="308"/>
            <ac:spMk id="169" creationId="{00000000-0000-0000-0000-000000000000}"/>
          </ac:spMkLst>
        </pc:spChg>
        <pc:spChg chg="mod">
          <ac:chgData name="Alexis Ramirez" userId="a7c81f6c-ff5e-4a39-b2c7-6de722d1b62c" providerId="ADAL" clId="{CCA05BC4-E4A3-4B78-9B1C-7909B82CC38B}" dt="2025-03-04T02:20:28.528" v="417" actId="122"/>
          <ac:spMkLst>
            <pc:docMk/>
            <pc:sldMk cId="316422431" sldId="308"/>
            <ac:spMk id="170" creationId="{00000000-0000-0000-0000-000000000000}"/>
          </ac:spMkLst>
        </pc:spChg>
        <pc:spChg chg="mod">
          <ac:chgData name="Alexis Ramirez" userId="a7c81f6c-ff5e-4a39-b2c7-6de722d1b62c" providerId="ADAL" clId="{CCA05BC4-E4A3-4B78-9B1C-7909B82CC38B}" dt="2025-03-04T02:20:20.627" v="415" actId="2711"/>
          <ac:spMkLst>
            <pc:docMk/>
            <pc:sldMk cId="316422431" sldId="308"/>
            <ac:spMk id="171" creationId="{00000000-0000-0000-0000-000000000000}"/>
          </ac:spMkLst>
        </pc:spChg>
        <pc:spChg chg="del mod">
          <ac:chgData name="Alexis Ramirez" userId="a7c81f6c-ff5e-4a39-b2c7-6de722d1b62c" providerId="ADAL" clId="{CCA05BC4-E4A3-4B78-9B1C-7909B82CC38B}" dt="2025-03-04T01:54:55.200" v="290" actId="478"/>
          <ac:spMkLst>
            <pc:docMk/>
            <pc:sldMk cId="316422431" sldId="308"/>
            <ac:spMk id="194" creationId="{00000000-0000-0000-0000-000000000000}"/>
          </ac:spMkLst>
        </pc:spChg>
        <pc:spChg chg="mod">
          <ac:chgData name="Alexis Ramirez" userId="a7c81f6c-ff5e-4a39-b2c7-6de722d1b62c" providerId="ADAL" clId="{CCA05BC4-E4A3-4B78-9B1C-7909B82CC38B}" dt="2025-03-04T01:47:49.104" v="206" actId="208"/>
          <ac:spMkLst>
            <pc:docMk/>
            <pc:sldMk cId="316422431" sldId="308"/>
            <ac:spMk id="208"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222" creationId="{00000000-0000-0000-0000-000000000000}"/>
          </ac:spMkLst>
        </pc:spChg>
        <pc:spChg chg="mod">
          <ac:chgData name="Alexis Ramirez" userId="a7c81f6c-ff5e-4a39-b2c7-6de722d1b62c" providerId="ADAL" clId="{CCA05BC4-E4A3-4B78-9B1C-7909B82CC38B}" dt="2025-03-04T01:56:02.930" v="306" actId="12789"/>
          <ac:spMkLst>
            <pc:docMk/>
            <pc:sldMk cId="316422431" sldId="308"/>
            <ac:spMk id="240" creationId="{00000000-0000-0000-0000-000000000000}"/>
          </ac:spMkLst>
        </pc:spChg>
        <pc:spChg chg="mod">
          <ac:chgData name="Alexis Ramirez" userId="a7c81f6c-ff5e-4a39-b2c7-6de722d1b62c" providerId="ADAL" clId="{CCA05BC4-E4A3-4B78-9B1C-7909B82CC38B}" dt="2025-03-04T01:56:02.930" v="306" actId="12789"/>
          <ac:spMkLst>
            <pc:docMk/>
            <pc:sldMk cId="316422431" sldId="308"/>
            <ac:spMk id="241" creationId="{00000000-0000-0000-0000-000000000000}"/>
          </ac:spMkLst>
        </pc:spChg>
        <pc:spChg chg="mod">
          <ac:chgData name="Alexis Ramirez" userId="a7c81f6c-ff5e-4a39-b2c7-6de722d1b62c" providerId="ADAL" clId="{CCA05BC4-E4A3-4B78-9B1C-7909B82CC38B}" dt="2025-03-04T01:55:54.151" v="305" actId="1076"/>
          <ac:spMkLst>
            <pc:docMk/>
            <pc:sldMk cId="316422431" sldId="308"/>
            <ac:spMk id="249" creationId="{00000000-0000-0000-0000-000000000000}"/>
          </ac:spMkLst>
        </pc:spChg>
        <pc:spChg chg="mod">
          <ac:chgData name="Alexis Ramirez" userId="a7c81f6c-ff5e-4a39-b2c7-6de722d1b62c" providerId="ADAL" clId="{CCA05BC4-E4A3-4B78-9B1C-7909B82CC38B}" dt="2025-03-04T01:55:44.311" v="303" actId="1076"/>
          <ac:spMkLst>
            <pc:docMk/>
            <pc:sldMk cId="316422431" sldId="308"/>
            <ac:spMk id="250" creationId="{00000000-0000-0000-0000-000000000000}"/>
          </ac:spMkLst>
        </pc:spChg>
        <pc:spChg chg="mod">
          <ac:chgData name="Alexis Ramirez" userId="a7c81f6c-ff5e-4a39-b2c7-6de722d1b62c" providerId="ADAL" clId="{CCA05BC4-E4A3-4B78-9B1C-7909B82CC38B}" dt="2025-03-04T01:57:06.746" v="311" actId="1076"/>
          <ac:spMkLst>
            <pc:docMk/>
            <pc:sldMk cId="316422431" sldId="308"/>
            <ac:spMk id="252" creationId="{00000000-0000-0000-0000-000000000000}"/>
          </ac:spMkLst>
        </pc:spChg>
        <pc:spChg chg="mod">
          <ac:chgData name="Alexis Ramirez" userId="a7c81f6c-ff5e-4a39-b2c7-6de722d1b62c" providerId="ADAL" clId="{CCA05BC4-E4A3-4B78-9B1C-7909B82CC38B}" dt="2025-03-04T01:58:13.712" v="316" actId="1076"/>
          <ac:spMkLst>
            <pc:docMk/>
            <pc:sldMk cId="316422431" sldId="308"/>
            <ac:spMk id="258" creationId="{00000000-0000-0000-0000-000000000000}"/>
          </ac:spMkLst>
        </pc:spChg>
        <pc:spChg chg="mod">
          <ac:chgData name="Alexis Ramirez" userId="a7c81f6c-ff5e-4a39-b2c7-6de722d1b62c" providerId="ADAL" clId="{CCA05BC4-E4A3-4B78-9B1C-7909B82CC38B}" dt="2025-03-04T01:43:43.113" v="187" actId="207"/>
          <ac:spMkLst>
            <pc:docMk/>
            <pc:sldMk cId="316422431" sldId="308"/>
            <ac:spMk id="259" creationId="{00000000-0000-0000-0000-000000000000}"/>
          </ac:spMkLst>
        </pc:spChg>
        <pc:spChg chg="mod">
          <ac:chgData name="Alexis Ramirez" userId="a7c81f6c-ff5e-4a39-b2c7-6de722d1b62c" providerId="ADAL" clId="{CCA05BC4-E4A3-4B78-9B1C-7909B82CC38B}" dt="2025-03-04T03:39:43.016" v="876" actId="207"/>
          <ac:spMkLst>
            <pc:docMk/>
            <pc:sldMk cId="316422431" sldId="308"/>
            <ac:spMk id="276" creationId="{00000000-0000-0000-0000-000000000000}"/>
          </ac:spMkLst>
        </pc:spChg>
        <pc:grpChg chg="mod">
          <ac:chgData name="Alexis Ramirez" userId="a7c81f6c-ff5e-4a39-b2c7-6de722d1b62c" providerId="ADAL" clId="{CCA05BC4-E4A3-4B78-9B1C-7909B82CC38B}" dt="2025-03-04T01:52:27.570" v="267" actId="1036"/>
          <ac:grpSpMkLst>
            <pc:docMk/>
            <pc:sldMk cId="316422431" sldId="308"/>
            <ac:grpSpMk id="17" creationId="{ED404198-8923-62E7-06B7-7F6242950158}"/>
          </ac:grpSpMkLst>
        </pc:grpChg>
        <pc:cxnChg chg="mod">
          <ac:chgData name="Alexis Ramirez" userId="a7c81f6c-ff5e-4a39-b2c7-6de722d1b62c" providerId="ADAL" clId="{CCA05BC4-E4A3-4B78-9B1C-7909B82CC38B}" dt="2025-03-04T01:54:22.486" v="286" actId="1582"/>
          <ac:cxnSpMkLst>
            <pc:docMk/>
            <pc:sldMk cId="316422431" sldId="308"/>
            <ac:cxnSpMk id="106"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46"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53"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55"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56"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59"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60" creationId="{00000000-0000-0000-0000-000000000000}"/>
          </ac:cxnSpMkLst>
        </pc:cxnChg>
        <pc:cxnChg chg="mod">
          <ac:chgData name="Alexis Ramirez" userId="a7c81f6c-ff5e-4a39-b2c7-6de722d1b62c" providerId="ADAL" clId="{CCA05BC4-E4A3-4B78-9B1C-7909B82CC38B}" dt="2025-03-04T01:53:50.329" v="282" actId="108"/>
          <ac:cxnSpMkLst>
            <pc:docMk/>
            <pc:sldMk cId="316422431" sldId="308"/>
            <ac:cxnSpMk id="161" creationId="{00000000-0000-0000-0000-000000000000}"/>
          </ac:cxnSpMkLst>
        </pc:cxnChg>
        <pc:cxnChg chg="mod">
          <ac:chgData name="Alexis Ramirez" userId="a7c81f6c-ff5e-4a39-b2c7-6de722d1b62c" providerId="ADAL" clId="{CCA05BC4-E4A3-4B78-9B1C-7909B82CC38B}" dt="2025-03-04T02:00:09.153" v="363" actId="1582"/>
          <ac:cxnSpMkLst>
            <pc:docMk/>
            <pc:sldMk cId="316422431" sldId="308"/>
            <ac:cxnSpMk id="167"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168" creationId="{00000000-0000-0000-0000-000000000000}"/>
          </ac:cxnSpMkLst>
        </pc:cxnChg>
        <pc:cxnChg chg="mod">
          <ac:chgData name="Alexis Ramirez" userId="a7c81f6c-ff5e-4a39-b2c7-6de722d1b62c" providerId="ADAL" clId="{CCA05BC4-E4A3-4B78-9B1C-7909B82CC38B}" dt="2025-03-04T01:55:20.775" v="298" actId="14100"/>
          <ac:cxnSpMkLst>
            <pc:docMk/>
            <pc:sldMk cId="316422431" sldId="308"/>
            <ac:cxnSpMk id="211" creationId="{00000000-0000-0000-0000-000000000000}"/>
          </ac:cxnSpMkLst>
        </pc:cxnChg>
        <pc:cxnChg chg="mod">
          <ac:chgData name="Alexis Ramirez" userId="a7c81f6c-ff5e-4a39-b2c7-6de722d1b62c" providerId="ADAL" clId="{CCA05BC4-E4A3-4B78-9B1C-7909B82CC38B}" dt="2025-03-04T01:55:31.752" v="300" actId="14100"/>
          <ac:cxnSpMkLst>
            <pc:docMk/>
            <pc:sldMk cId="316422431" sldId="308"/>
            <ac:cxnSpMk id="217" creationId="{00000000-0000-0000-0000-000000000000}"/>
          </ac:cxnSpMkLst>
        </pc:cxnChg>
        <pc:cxnChg chg="mod">
          <ac:chgData name="Alexis Ramirez" userId="a7c81f6c-ff5e-4a39-b2c7-6de722d1b62c" providerId="ADAL" clId="{CCA05BC4-E4A3-4B78-9B1C-7909B82CC38B}" dt="2025-03-04T01:55:40.975" v="302" actId="14100"/>
          <ac:cxnSpMkLst>
            <pc:docMk/>
            <pc:sldMk cId="316422431" sldId="308"/>
            <ac:cxnSpMk id="244" creationId="{00000000-0000-0000-0000-000000000000}"/>
          </ac:cxnSpMkLst>
        </pc:cxnChg>
        <pc:cxnChg chg="mod">
          <ac:chgData name="Alexis Ramirez" userId="a7c81f6c-ff5e-4a39-b2c7-6de722d1b62c" providerId="ADAL" clId="{CCA05BC4-E4A3-4B78-9B1C-7909B82CC38B}" dt="2025-03-04T01:55:50.175" v="304" actId="1076"/>
          <ac:cxnSpMkLst>
            <pc:docMk/>
            <pc:sldMk cId="316422431" sldId="308"/>
            <ac:cxnSpMk id="248" creationId="{00000000-0000-0000-0000-000000000000}"/>
          </ac:cxnSpMkLst>
        </pc:cxnChg>
        <pc:cxnChg chg="mod">
          <ac:chgData name="Alexis Ramirez" userId="a7c81f6c-ff5e-4a39-b2c7-6de722d1b62c" providerId="ADAL" clId="{CCA05BC4-E4A3-4B78-9B1C-7909B82CC38B}" dt="2025-03-04T01:55:05.079" v="293" actId="1076"/>
          <ac:cxnSpMkLst>
            <pc:docMk/>
            <pc:sldMk cId="316422431" sldId="308"/>
            <ac:cxnSpMk id="253" creationId="{00000000-0000-0000-0000-000000000000}"/>
          </ac:cxnSpMkLst>
        </pc:cxnChg>
        <pc:cxnChg chg="mod">
          <ac:chgData name="Alexis Ramirez" userId="a7c81f6c-ff5e-4a39-b2c7-6de722d1b62c" providerId="ADAL" clId="{CCA05BC4-E4A3-4B78-9B1C-7909B82CC38B}" dt="2025-03-04T01:54:43.655" v="288" actId="1582"/>
          <ac:cxnSpMkLst>
            <pc:docMk/>
            <pc:sldMk cId="316422431" sldId="308"/>
            <ac:cxnSpMk id="254" creationId="{00000000-0000-0000-0000-000000000000}"/>
          </ac:cxnSpMkLst>
        </pc:cxnChg>
        <pc:cxnChg chg="mod">
          <ac:chgData name="Alexis Ramirez" userId="a7c81f6c-ff5e-4a39-b2c7-6de722d1b62c" providerId="ADAL" clId="{CCA05BC4-E4A3-4B78-9B1C-7909B82CC38B}" dt="2025-03-04T01:55:02.447" v="292" actId="1076"/>
          <ac:cxnSpMkLst>
            <pc:docMk/>
            <pc:sldMk cId="316422431" sldId="308"/>
            <ac:cxnSpMk id="255" creationId="{00000000-0000-0000-0000-000000000000}"/>
          </ac:cxnSpMkLst>
        </pc:cxnChg>
        <pc:cxnChg chg="mod">
          <ac:chgData name="Alexis Ramirez" userId="a7c81f6c-ff5e-4a39-b2c7-6de722d1b62c" providerId="ADAL" clId="{CCA05BC4-E4A3-4B78-9B1C-7909B82CC38B}" dt="2025-03-04T01:55:00.543" v="291" actId="1076"/>
          <ac:cxnSpMkLst>
            <pc:docMk/>
            <pc:sldMk cId="316422431" sldId="308"/>
            <ac:cxnSpMk id="256"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257" creationId="{00000000-0000-0000-0000-000000000000}"/>
          </ac:cxnSpMkLst>
        </pc:cxnChg>
        <pc:cxnChg chg="mod">
          <ac:chgData name="Alexis Ramirez" userId="a7c81f6c-ff5e-4a39-b2c7-6de722d1b62c" providerId="ADAL" clId="{CCA05BC4-E4A3-4B78-9B1C-7909B82CC38B}" dt="2025-03-04T01:54:22.486" v="286" actId="1582"/>
          <ac:cxnSpMkLst>
            <pc:docMk/>
            <pc:sldMk cId="316422431" sldId="308"/>
            <ac:cxnSpMk id="261" creationId="{00000000-0000-0000-0000-000000000000}"/>
          </ac:cxnSpMkLst>
        </pc:cxnChg>
        <pc:cxnChg chg="mod">
          <ac:chgData name="Alexis Ramirez" userId="a7c81f6c-ff5e-4a39-b2c7-6de722d1b62c" providerId="ADAL" clId="{CCA05BC4-E4A3-4B78-9B1C-7909B82CC38B}" dt="2025-03-04T01:54:43.655" v="288" actId="1582"/>
          <ac:cxnSpMkLst>
            <pc:docMk/>
            <pc:sldMk cId="316422431" sldId="308"/>
            <ac:cxnSpMk id="262" creationId="{00000000-0000-0000-0000-000000000000}"/>
          </ac:cxnSpMkLst>
        </pc:cxnChg>
        <pc:cxnChg chg="mod">
          <ac:chgData name="Alexis Ramirez" userId="a7c81f6c-ff5e-4a39-b2c7-6de722d1b62c" providerId="ADAL" clId="{CCA05BC4-E4A3-4B78-9B1C-7909B82CC38B}" dt="2025-03-04T02:00:04.470" v="362" actId="1582"/>
          <ac:cxnSpMkLst>
            <pc:docMk/>
            <pc:sldMk cId="316422431" sldId="308"/>
            <ac:cxnSpMk id="263" creationId="{00000000-0000-0000-0000-000000000000}"/>
          </ac:cxnSpMkLst>
        </pc:cxnChg>
        <pc:cxnChg chg="mod">
          <ac:chgData name="Alexis Ramirez" userId="a7c81f6c-ff5e-4a39-b2c7-6de722d1b62c" providerId="ADAL" clId="{CCA05BC4-E4A3-4B78-9B1C-7909B82CC38B}" dt="2025-03-04T01:54:32.126" v="287" actId="1582"/>
          <ac:cxnSpMkLst>
            <pc:docMk/>
            <pc:sldMk cId="316422431" sldId="308"/>
            <ac:cxnSpMk id="266" creationId="{00000000-0000-0000-0000-000000000000}"/>
          </ac:cxnSpMkLst>
        </pc:cxnChg>
      </pc:sldChg>
      <pc:sldChg chg="delSp modSp mod setBg">
        <pc:chgData name="Alexis Ramirez" userId="a7c81f6c-ff5e-4a39-b2c7-6de722d1b62c" providerId="ADAL" clId="{CCA05BC4-E4A3-4B78-9B1C-7909B82CC38B}" dt="2025-03-04T15:51:15.413" v="884" actId="478"/>
        <pc:sldMkLst>
          <pc:docMk/>
          <pc:sldMk cId="1768696580" sldId="1334"/>
        </pc:sldMkLst>
        <pc:spChg chg="mod">
          <ac:chgData name="Alexis Ramirez" userId="a7c81f6c-ff5e-4a39-b2c7-6de722d1b62c" providerId="ADAL" clId="{CCA05BC4-E4A3-4B78-9B1C-7909B82CC38B}" dt="2025-03-04T03:39:50.309" v="877" actId="207"/>
          <ac:spMkLst>
            <pc:docMk/>
            <pc:sldMk cId="1768696580" sldId="1334"/>
            <ac:spMk id="2" creationId="{8B387875-635E-C394-6CE1-2C442AFD78FF}"/>
          </ac:spMkLst>
        </pc:spChg>
        <pc:spChg chg="del">
          <ac:chgData name="Alexis Ramirez" userId="a7c81f6c-ff5e-4a39-b2c7-6de722d1b62c" providerId="ADAL" clId="{CCA05BC4-E4A3-4B78-9B1C-7909B82CC38B}" dt="2025-03-04T15:51:15.413" v="884" actId="478"/>
          <ac:spMkLst>
            <pc:docMk/>
            <pc:sldMk cId="1768696580" sldId="1334"/>
            <ac:spMk id="3" creationId="{DC23E072-F8B7-81AD-114E-9090B36B34E5}"/>
          </ac:spMkLst>
        </pc:spChg>
      </pc:sldChg>
      <pc:sldChg chg="modSp mod">
        <pc:chgData name="Alexis Ramirez" userId="a7c81f6c-ff5e-4a39-b2c7-6de722d1b62c" providerId="ADAL" clId="{CCA05BC4-E4A3-4B78-9B1C-7909B82CC38B}" dt="2025-03-04T03:38:15.310" v="866" actId="207"/>
        <pc:sldMkLst>
          <pc:docMk/>
          <pc:sldMk cId="3858424741" sldId="1642"/>
        </pc:sldMkLst>
        <pc:spChg chg="mod">
          <ac:chgData name="Alexis Ramirez" userId="a7c81f6c-ff5e-4a39-b2c7-6de722d1b62c" providerId="ADAL" clId="{CCA05BC4-E4A3-4B78-9B1C-7909B82CC38B}" dt="2025-03-04T03:38:15.310" v="866" actId="207"/>
          <ac:spMkLst>
            <pc:docMk/>
            <pc:sldMk cId="3858424741" sldId="1642"/>
            <ac:spMk id="22" creationId="{A812E997-C5E2-6FC6-C488-2B3E0B3C7F5E}"/>
          </ac:spMkLst>
        </pc:spChg>
      </pc:sldChg>
      <pc:sldChg chg="modSp mod">
        <pc:chgData name="Alexis Ramirez" userId="a7c81f6c-ff5e-4a39-b2c7-6de722d1b62c" providerId="ADAL" clId="{CCA05BC4-E4A3-4B78-9B1C-7909B82CC38B}" dt="2025-03-04T03:38:19.829" v="867" actId="207"/>
        <pc:sldMkLst>
          <pc:docMk/>
          <pc:sldMk cId="2680681950" sldId="2147480770"/>
        </pc:sldMkLst>
        <pc:spChg chg="mod">
          <ac:chgData name="Alexis Ramirez" userId="a7c81f6c-ff5e-4a39-b2c7-6de722d1b62c" providerId="ADAL" clId="{CCA05BC4-E4A3-4B78-9B1C-7909B82CC38B}" dt="2025-03-04T03:38:19.829" v="867" actId="207"/>
          <ac:spMkLst>
            <pc:docMk/>
            <pc:sldMk cId="2680681950" sldId="2147480770"/>
            <ac:spMk id="6" creationId="{969E69BA-655C-347F-C8AA-91519FE6CDC6}"/>
          </ac:spMkLst>
        </pc:spChg>
        <pc:spChg chg="mod">
          <ac:chgData name="Alexis Ramirez" userId="a7c81f6c-ff5e-4a39-b2c7-6de722d1b62c" providerId="ADAL" clId="{CCA05BC4-E4A3-4B78-9B1C-7909B82CC38B}" dt="2025-03-04T00:27:24.177" v="0" actId="1076"/>
          <ac:spMkLst>
            <pc:docMk/>
            <pc:sldMk cId="2680681950" sldId="2147480770"/>
            <ac:spMk id="8" creationId="{D56296FC-F0D5-BF5A-F329-3A288E36D5D8}"/>
          </ac:spMkLst>
        </pc:spChg>
        <pc:spChg chg="mod">
          <ac:chgData name="Alexis Ramirez" userId="a7c81f6c-ff5e-4a39-b2c7-6de722d1b62c" providerId="ADAL" clId="{CCA05BC4-E4A3-4B78-9B1C-7909B82CC38B}" dt="2025-03-04T00:27:24.177" v="0" actId="1076"/>
          <ac:spMkLst>
            <pc:docMk/>
            <pc:sldMk cId="2680681950" sldId="2147480770"/>
            <ac:spMk id="9" creationId="{362547E9-501C-695B-194D-7437E67ED78A}"/>
          </ac:spMkLst>
        </pc:spChg>
        <pc:spChg chg="mod">
          <ac:chgData name="Alexis Ramirez" userId="a7c81f6c-ff5e-4a39-b2c7-6de722d1b62c" providerId="ADAL" clId="{CCA05BC4-E4A3-4B78-9B1C-7909B82CC38B}" dt="2025-03-04T00:27:24.177" v="0" actId="1076"/>
          <ac:spMkLst>
            <pc:docMk/>
            <pc:sldMk cId="2680681950" sldId="2147480770"/>
            <ac:spMk id="10" creationId="{B5845815-C478-EA50-F6DA-9139DBC90D97}"/>
          </ac:spMkLst>
        </pc:spChg>
        <pc:spChg chg="mod">
          <ac:chgData name="Alexis Ramirez" userId="a7c81f6c-ff5e-4a39-b2c7-6de722d1b62c" providerId="ADAL" clId="{CCA05BC4-E4A3-4B78-9B1C-7909B82CC38B}" dt="2025-03-04T00:27:24.177" v="0" actId="1076"/>
          <ac:spMkLst>
            <pc:docMk/>
            <pc:sldMk cId="2680681950" sldId="2147480770"/>
            <ac:spMk id="11" creationId="{522EE534-32DE-941C-CD62-77C4D1B107BD}"/>
          </ac:spMkLst>
        </pc:spChg>
        <pc:spChg chg="mod">
          <ac:chgData name="Alexis Ramirez" userId="a7c81f6c-ff5e-4a39-b2c7-6de722d1b62c" providerId="ADAL" clId="{CCA05BC4-E4A3-4B78-9B1C-7909B82CC38B}" dt="2025-03-04T00:27:24.177" v="0" actId="1076"/>
          <ac:spMkLst>
            <pc:docMk/>
            <pc:sldMk cId="2680681950" sldId="2147480770"/>
            <ac:spMk id="13" creationId="{A48B2DAD-FD22-E0DA-0823-0A396D3CB2EC}"/>
          </ac:spMkLst>
        </pc:spChg>
        <pc:picChg chg="mod">
          <ac:chgData name="Alexis Ramirez" userId="a7c81f6c-ff5e-4a39-b2c7-6de722d1b62c" providerId="ADAL" clId="{CCA05BC4-E4A3-4B78-9B1C-7909B82CC38B}" dt="2025-03-04T00:27:24.177" v="0" actId="1076"/>
          <ac:picMkLst>
            <pc:docMk/>
            <pc:sldMk cId="2680681950" sldId="2147480770"/>
            <ac:picMk id="14" creationId="{1DB9A322-D2BF-BFD6-21AA-858173410993}"/>
          </ac:picMkLst>
        </pc:picChg>
      </pc:sldChg>
      <pc:sldChg chg="modSp mod">
        <pc:chgData name="Alexis Ramirez" userId="a7c81f6c-ff5e-4a39-b2c7-6de722d1b62c" providerId="ADAL" clId="{CCA05BC4-E4A3-4B78-9B1C-7909B82CC38B}" dt="2025-03-04T16:26:40.300" v="888" actId="1076"/>
        <pc:sldMkLst>
          <pc:docMk/>
          <pc:sldMk cId="2108733470" sldId="2147480803"/>
        </pc:sldMkLst>
        <pc:spChg chg="mod">
          <ac:chgData name="Alexis Ramirez" userId="a7c81f6c-ff5e-4a39-b2c7-6de722d1b62c" providerId="ADAL" clId="{CCA05BC4-E4A3-4B78-9B1C-7909B82CC38B}" dt="2025-03-04T03:39:34.604" v="875" actId="207"/>
          <ac:spMkLst>
            <pc:docMk/>
            <pc:sldMk cId="2108733470" sldId="2147480803"/>
            <ac:spMk id="7" creationId="{2078283B-61D4-0BF2-588B-FBFB94923386}"/>
          </ac:spMkLst>
        </pc:spChg>
        <pc:spChg chg="mod">
          <ac:chgData name="Alexis Ramirez" userId="a7c81f6c-ff5e-4a39-b2c7-6de722d1b62c" providerId="ADAL" clId="{CCA05BC4-E4A3-4B78-9B1C-7909B82CC38B}" dt="2025-03-04T16:26:40.300" v="888" actId="1076"/>
          <ac:spMkLst>
            <pc:docMk/>
            <pc:sldMk cId="2108733470" sldId="2147480803"/>
            <ac:spMk id="12" creationId="{ACCD9F5C-9DFD-C311-90D6-35D7435CD077}"/>
          </ac:spMkLst>
        </pc:spChg>
      </pc:sldChg>
      <pc:sldChg chg="modSp mod">
        <pc:chgData name="Alexis Ramirez" userId="a7c81f6c-ff5e-4a39-b2c7-6de722d1b62c" providerId="ADAL" clId="{CCA05BC4-E4A3-4B78-9B1C-7909B82CC38B}" dt="2025-03-04T03:38:48.941" v="870" actId="207"/>
        <pc:sldMkLst>
          <pc:docMk/>
          <pc:sldMk cId="1940940105" sldId="2147480812"/>
        </pc:sldMkLst>
        <pc:spChg chg="mod">
          <ac:chgData name="Alexis Ramirez" userId="a7c81f6c-ff5e-4a39-b2c7-6de722d1b62c" providerId="ADAL" clId="{CCA05BC4-E4A3-4B78-9B1C-7909B82CC38B}" dt="2025-03-04T03:38:48.941" v="870" actId="207"/>
          <ac:spMkLst>
            <pc:docMk/>
            <pc:sldMk cId="1940940105" sldId="2147480812"/>
            <ac:spMk id="2" creationId="{BDC03362-BE03-3BEF-680F-842B683A60DB}"/>
          </ac:spMkLst>
        </pc:spChg>
      </pc:sldChg>
      <pc:sldChg chg="modSp mod">
        <pc:chgData name="Alexis Ramirez" userId="a7c81f6c-ff5e-4a39-b2c7-6de722d1b62c" providerId="ADAL" clId="{CCA05BC4-E4A3-4B78-9B1C-7909B82CC38B}" dt="2025-03-04T03:38:58.302" v="871" actId="207"/>
        <pc:sldMkLst>
          <pc:docMk/>
          <pc:sldMk cId="4016937299" sldId="2147480813"/>
        </pc:sldMkLst>
        <pc:spChg chg="mod">
          <ac:chgData name="Alexis Ramirez" userId="a7c81f6c-ff5e-4a39-b2c7-6de722d1b62c" providerId="ADAL" clId="{CCA05BC4-E4A3-4B78-9B1C-7909B82CC38B}" dt="2025-03-04T03:38:58.302" v="871" actId="207"/>
          <ac:spMkLst>
            <pc:docMk/>
            <pc:sldMk cId="4016937299" sldId="2147480813"/>
            <ac:spMk id="4" creationId="{98DCA1F3-EC47-061A-D8F4-01D6B23C5DC7}"/>
          </ac:spMkLst>
        </pc:spChg>
        <pc:spChg chg="mod">
          <ac:chgData name="Alexis Ramirez" userId="a7c81f6c-ff5e-4a39-b2c7-6de722d1b62c" providerId="ADAL" clId="{CCA05BC4-E4A3-4B78-9B1C-7909B82CC38B}" dt="2025-03-04T00:43:12.849" v="4" actId="1076"/>
          <ac:spMkLst>
            <pc:docMk/>
            <pc:sldMk cId="4016937299" sldId="2147480813"/>
            <ac:spMk id="44" creationId="{0A65AD7F-9800-B76F-0693-0BE27EAE24C9}"/>
          </ac:spMkLst>
        </pc:spChg>
        <pc:spChg chg="mod">
          <ac:chgData name="Alexis Ramirez" userId="a7c81f6c-ff5e-4a39-b2c7-6de722d1b62c" providerId="ADAL" clId="{CCA05BC4-E4A3-4B78-9B1C-7909B82CC38B}" dt="2025-03-04T00:44:29.376" v="5" actId="1076"/>
          <ac:spMkLst>
            <pc:docMk/>
            <pc:sldMk cId="4016937299" sldId="2147480813"/>
            <ac:spMk id="61" creationId="{838453C8-955F-9F22-91AC-C3B5BCB33894}"/>
          </ac:spMkLst>
        </pc:spChg>
        <pc:picChg chg="mod">
          <ac:chgData name="Alexis Ramirez" userId="a7c81f6c-ff5e-4a39-b2c7-6de722d1b62c" providerId="ADAL" clId="{CCA05BC4-E4A3-4B78-9B1C-7909B82CC38B}" dt="2025-03-04T00:28:38.892" v="3" actId="1076"/>
          <ac:picMkLst>
            <pc:docMk/>
            <pc:sldMk cId="4016937299" sldId="2147480813"/>
            <ac:picMk id="10" creationId="{518D3FE2-D066-38E0-F33C-3BE53D9B0097}"/>
          </ac:picMkLst>
        </pc:picChg>
        <pc:picChg chg="mod">
          <ac:chgData name="Alexis Ramirez" userId="a7c81f6c-ff5e-4a39-b2c7-6de722d1b62c" providerId="ADAL" clId="{CCA05BC4-E4A3-4B78-9B1C-7909B82CC38B}" dt="2025-03-04T00:43:12.849" v="4" actId="1076"/>
          <ac:picMkLst>
            <pc:docMk/>
            <pc:sldMk cId="4016937299" sldId="2147480813"/>
            <ac:picMk id="18" creationId="{9D010F17-E5E1-E4BA-941A-96F67142EFC7}"/>
          </ac:picMkLst>
        </pc:picChg>
      </pc:sldChg>
      <pc:sldChg chg="modSp mod">
        <pc:chgData name="Alexis Ramirez" userId="a7c81f6c-ff5e-4a39-b2c7-6de722d1b62c" providerId="ADAL" clId="{CCA05BC4-E4A3-4B78-9B1C-7909B82CC38B}" dt="2025-03-04T03:39:23.054" v="873" actId="207"/>
        <pc:sldMkLst>
          <pc:docMk/>
          <pc:sldMk cId="2642113184" sldId="2147480816"/>
        </pc:sldMkLst>
        <pc:spChg chg="mod">
          <ac:chgData name="Alexis Ramirez" userId="a7c81f6c-ff5e-4a39-b2c7-6de722d1b62c" providerId="ADAL" clId="{CCA05BC4-E4A3-4B78-9B1C-7909B82CC38B}" dt="2025-03-04T03:39:23.054" v="873" actId="207"/>
          <ac:spMkLst>
            <pc:docMk/>
            <pc:sldMk cId="2642113184" sldId="2147480816"/>
            <ac:spMk id="7" creationId="{7EAE94E0-4008-7B97-CE98-D282578E0BA9}"/>
          </ac:spMkLst>
        </pc:spChg>
        <pc:graphicFrameChg chg="modGraphic">
          <ac:chgData name="Alexis Ramirez" userId="a7c81f6c-ff5e-4a39-b2c7-6de722d1b62c" providerId="ADAL" clId="{CCA05BC4-E4A3-4B78-9B1C-7909B82CC38B}" dt="2025-03-04T02:17:49.706" v="412" actId="207"/>
          <ac:graphicFrameMkLst>
            <pc:docMk/>
            <pc:sldMk cId="2642113184" sldId="2147480816"/>
            <ac:graphicFrameMk id="5" creationId="{A9CF14BE-414F-5C0B-B613-74AF64DAD3DB}"/>
          </ac:graphicFrameMkLst>
        </pc:graphicFrameChg>
      </pc:sldChg>
      <pc:sldChg chg="modSp mod">
        <pc:chgData name="Alexis Ramirez" userId="a7c81f6c-ff5e-4a39-b2c7-6de722d1b62c" providerId="ADAL" clId="{CCA05BC4-E4A3-4B78-9B1C-7909B82CC38B}" dt="2025-03-04T03:38:37.382" v="868" actId="207"/>
        <pc:sldMkLst>
          <pc:docMk/>
          <pc:sldMk cId="2675573884" sldId="2147480818"/>
        </pc:sldMkLst>
        <pc:spChg chg="mod">
          <ac:chgData name="Alexis Ramirez" userId="a7c81f6c-ff5e-4a39-b2c7-6de722d1b62c" providerId="ADAL" clId="{CCA05BC4-E4A3-4B78-9B1C-7909B82CC38B}" dt="2025-03-04T03:38:37.382" v="868" actId="207"/>
          <ac:spMkLst>
            <pc:docMk/>
            <pc:sldMk cId="2675573884" sldId="2147480818"/>
            <ac:spMk id="11" creationId="{08A691A9-B93C-E62A-5316-28AC5F492616}"/>
          </ac:spMkLst>
        </pc:spChg>
      </pc:sldChg>
      <pc:sldChg chg="modSp mod">
        <pc:chgData name="Alexis Ramirez" userId="a7c81f6c-ff5e-4a39-b2c7-6de722d1b62c" providerId="ADAL" clId="{CCA05BC4-E4A3-4B78-9B1C-7909B82CC38B}" dt="2025-03-04T03:38:44.935" v="869" actId="207"/>
        <pc:sldMkLst>
          <pc:docMk/>
          <pc:sldMk cId="73796801" sldId="2147480819"/>
        </pc:sldMkLst>
        <pc:spChg chg="mod">
          <ac:chgData name="Alexis Ramirez" userId="a7c81f6c-ff5e-4a39-b2c7-6de722d1b62c" providerId="ADAL" clId="{CCA05BC4-E4A3-4B78-9B1C-7909B82CC38B}" dt="2025-03-04T03:38:44.935" v="869" actId="207"/>
          <ac:spMkLst>
            <pc:docMk/>
            <pc:sldMk cId="73796801" sldId="2147480819"/>
            <ac:spMk id="6" creationId="{D61336D5-7B23-0C4F-33B8-0F209C292EB0}"/>
          </ac:spMkLst>
        </pc:spChg>
      </pc:sldChg>
      <pc:sldChg chg="delSp mod ord">
        <pc:chgData name="Alexis Ramirez" userId="a7c81f6c-ff5e-4a39-b2c7-6de722d1b62c" providerId="ADAL" clId="{CCA05BC4-E4A3-4B78-9B1C-7909B82CC38B}" dt="2025-03-04T02:16:54.113" v="408" actId="478"/>
        <pc:sldMkLst>
          <pc:docMk/>
          <pc:sldMk cId="2244406975" sldId="2147480820"/>
        </pc:sldMkLst>
        <pc:spChg chg="del">
          <ac:chgData name="Alexis Ramirez" userId="a7c81f6c-ff5e-4a39-b2c7-6de722d1b62c" providerId="ADAL" clId="{CCA05BC4-E4A3-4B78-9B1C-7909B82CC38B}" dt="2025-03-04T02:16:54.113" v="408" actId="478"/>
          <ac:spMkLst>
            <pc:docMk/>
            <pc:sldMk cId="2244406975" sldId="2147480820"/>
            <ac:spMk id="1410" creationId="{615DF450-F2C5-A837-0E76-ED45B6B634C7}"/>
          </ac:spMkLst>
        </pc:spChg>
      </pc:sldChg>
      <pc:sldChg chg="modSp mod">
        <pc:chgData name="Alexis Ramirez" userId="a7c81f6c-ff5e-4a39-b2c7-6de722d1b62c" providerId="ADAL" clId="{CCA05BC4-E4A3-4B78-9B1C-7909B82CC38B}" dt="2025-03-04T01:03:33.504" v="9" actId="14100"/>
        <pc:sldMkLst>
          <pc:docMk/>
          <pc:sldMk cId="3349944891" sldId="2147480821"/>
        </pc:sldMkLst>
        <pc:grpChg chg="mod">
          <ac:chgData name="Alexis Ramirez" userId="a7c81f6c-ff5e-4a39-b2c7-6de722d1b62c" providerId="ADAL" clId="{CCA05BC4-E4A3-4B78-9B1C-7909B82CC38B}" dt="2025-03-04T01:03:33.504" v="9" actId="14100"/>
          <ac:grpSpMkLst>
            <pc:docMk/>
            <pc:sldMk cId="3349944891" sldId="2147480821"/>
            <ac:grpSpMk id="1344" creationId="{1CA547F6-ED5F-C7AB-0C2F-B9D2EC3D04EA}"/>
          </ac:grpSpMkLst>
        </pc:grpChg>
      </pc:sldChg>
      <pc:sldChg chg="addSp delSp modSp mod setBg">
        <pc:chgData name="Alexis Ramirez" userId="a7c81f6c-ff5e-4a39-b2c7-6de722d1b62c" providerId="ADAL" clId="{CCA05BC4-E4A3-4B78-9B1C-7909B82CC38B}" dt="2025-03-04T15:52:56.104" v="885" actId="1076"/>
        <pc:sldMkLst>
          <pc:docMk/>
          <pc:sldMk cId="1558569887" sldId="2147480822"/>
        </pc:sldMkLst>
        <pc:spChg chg="mod">
          <ac:chgData name="Alexis Ramirez" userId="a7c81f6c-ff5e-4a39-b2c7-6de722d1b62c" providerId="ADAL" clId="{CCA05BC4-E4A3-4B78-9B1C-7909B82CC38B}" dt="2025-03-04T02:31:33.907" v="527" actId="1076"/>
          <ac:spMkLst>
            <pc:docMk/>
            <pc:sldMk cId="1558569887" sldId="2147480822"/>
            <ac:spMk id="2" creationId="{CB7ED777-FD6D-33CE-9AAE-DDBD7046B090}"/>
          </ac:spMkLst>
        </pc:spChg>
        <pc:spChg chg="mod">
          <ac:chgData name="Alexis Ramirez" userId="a7c81f6c-ff5e-4a39-b2c7-6de722d1b62c" providerId="ADAL" clId="{CCA05BC4-E4A3-4B78-9B1C-7909B82CC38B}" dt="2025-03-04T15:52:56.104" v="885" actId="1076"/>
          <ac:spMkLst>
            <pc:docMk/>
            <pc:sldMk cId="1558569887" sldId="2147480822"/>
            <ac:spMk id="3" creationId="{E7B38D56-CDCD-75B9-E8ED-4120FF7AA190}"/>
          </ac:spMkLst>
        </pc:spChg>
        <pc:spChg chg="add del mod">
          <ac:chgData name="Alexis Ramirez" userId="a7c81f6c-ff5e-4a39-b2c7-6de722d1b62c" providerId="ADAL" clId="{CCA05BC4-E4A3-4B78-9B1C-7909B82CC38B}" dt="2025-03-04T02:26:00.366" v="483" actId="478"/>
          <ac:spMkLst>
            <pc:docMk/>
            <pc:sldMk cId="1558569887" sldId="2147480822"/>
            <ac:spMk id="4" creationId="{32AACEEC-438E-638A-A6E8-BA1D84BA6345}"/>
          </ac:spMkLst>
        </pc:spChg>
        <pc:spChg chg="mod">
          <ac:chgData name="Alexis Ramirez" userId="a7c81f6c-ff5e-4a39-b2c7-6de722d1b62c" providerId="ADAL" clId="{CCA05BC4-E4A3-4B78-9B1C-7909B82CC38B}" dt="2025-03-04T02:42:08.514" v="580" actId="1076"/>
          <ac:spMkLst>
            <pc:docMk/>
            <pc:sldMk cId="1558569887" sldId="2147480822"/>
            <ac:spMk id="8" creationId="{37041487-4461-C7DC-D4CC-E6C5253AD55E}"/>
          </ac:spMkLst>
        </pc:spChg>
        <pc:spChg chg="mod">
          <ac:chgData name="Alexis Ramirez" userId="a7c81f6c-ff5e-4a39-b2c7-6de722d1b62c" providerId="ADAL" clId="{CCA05BC4-E4A3-4B78-9B1C-7909B82CC38B}" dt="2025-03-04T03:39:29.046" v="874" actId="207"/>
          <ac:spMkLst>
            <pc:docMk/>
            <pc:sldMk cId="1558569887" sldId="2147480822"/>
            <ac:spMk id="11" creationId="{7DCD298D-9863-5497-90FF-ED414AF88CED}"/>
          </ac:spMkLst>
        </pc:spChg>
        <pc:spChg chg="mod">
          <ac:chgData name="Alexis Ramirez" userId="a7c81f6c-ff5e-4a39-b2c7-6de722d1b62c" providerId="ADAL" clId="{CCA05BC4-E4A3-4B78-9B1C-7909B82CC38B}" dt="2025-03-04T02:40:55.811" v="571" actId="12788"/>
          <ac:spMkLst>
            <pc:docMk/>
            <pc:sldMk cId="1558569887" sldId="2147480822"/>
            <ac:spMk id="17" creationId="{A2F02531-8352-17A0-3354-4515BABB89A4}"/>
          </ac:spMkLst>
        </pc:spChg>
        <pc:spChg chg="mod">
          <ac:chgData name="Alexis Ramirez" userId="a7c81f6c-ff5e-4a39-b2c7-6de722d1b62c" providerId="ADAL" clId="{CCA05BC4-E4A3-4B78-9B1C-7909B82CC38B}" dt="2025-03-04T02:46:33.753" v="627" actId="1076"/>
          <ac:spMkLst>
            <pc:docMk/>
            <pc:sldMk cId="1558569887" sldId="2147480822"/>
            <ac:spMk id="18" creationId="{3E07A375-C385-3279-5BCD-1015E7C629B2}"/>
          </ac:spMkLst>
        </pc:spChg>
        <pc:spChg chg="del">
          <ac:chgData name="Alexis Ramirez" userId="a7c81f6c-ff5e-4a39-b2c7-6de722d1b62c" providerId="ADAL" clId="{CCA05BC4-E4A3-4B78-9B1C-7909B82CC38B}" dt="2025-03-04T02:45:24.962" v="611" actId="478"/>
          <ac:spMkLst>
            <pc:docMk/>
            <pc:sldMk cId="1558569887" sldId="2147480822"/>
            <ac:spMk id="22" creationId="{F7FC0661-3FFD-3E73-C7DA-D5321F6C6557}"/>
          </ac:spMkLst>
        </pc:spChg>
        <pc:spChg chg="del">
          <ac:chgData name="Alexis Ramirez" userId="a7c81f6c-ff5e-4a39-b2c7-6de722d1b62c" providerId="ADAL" clId="{CCA05BC4-E4A3-4B78-9B1C-7909B82CC38B}" dt="2025-03-04T02:45:27.013" v="612" actId="478"/>
          <ac:spMkLst>
            <pc:docMk/>
            <pc:sldMk cId="1558569887" sldId="2147480822"/>
            <ac:spMk id="24" creationId="{76485CBC-E2FF-7B73-285D-FE391D0074C0}"/>
          </ac:spMkLst>
        </pc:spChg>
        <pc:spChg chg="mod">
          <ac:chgData name="Alexis Ramirez" userId="a7c81f6c-ff5e-4a39-b2c7-6de722d1b62c" providerId="ADAL" clId="{CCA05BC4-E4A3-4B78-9B1C-7909B82CC38B}" dt="2025-03-04T02:46:47.422" v="638" actId="1036"/>
          <ac:spMkLst>
            <pc:docMk/>
            <pc:sldMk cId="1558569887" sldId="2147480822"/>
            <ac:spMk id="50" creationId="{7E842A3C-458C-1DBD-EA16-C0F4629D5EC9}"/>
          </ac:spMkLst>
        </pc:spChg>
        <pc:spChg chg="mod">
          <ac:chgData name="Alexis Ramirez" userId="a7c81f6c-ff5e-4a39-b2c7-6de722d1b62c" providerId="ADAL" clId="{CCA05BC4-E4A3-4B78-9B1C-7909B82CC38B}" dt="2025-03-04T02:46:47.422" v="638" actId="1036"/>
          <ac:spMkLst>
            <pc:docMk/>
            <pc:sldMk cId="1558569887" sldId="2147480822"/>
            <ac:spMk id="63" creationId="{6DC85053-4D95-9E10-2A69-FC6DA110D3F5}"/>
          </ac:spMkLst>
        </pc:spChg>
        <pc:spChg chg="mod">
          <ac:chgData name="Alexis Ramirez" userId="a7c81f6c-ff5e-4a39-b2c7-6de722d1b62c" providerId="ADAL" clId="{CCA05BC4-E4A3-4B78-9B1C-7909B82CC38B}" dt="2025-03-04T02:46:47.422" v="638" actId="1036"/>
          <ac:spMkLst>
            <pc:docMk/>
            <pc:sldMk cId="1558569887" sldId="2147480822"/>
            <ac:spMk id="1345" creationId="{77F35BD7-E0CE-34FB-3449-BB73642C4F3E}"/>
          </ac:spMkLst>
        </pc:spChg>
        <pc:spChg chg="mod">
          <ac:chgData name="Alexis Ramirez" userId="a7c81f6c-ff5e-4a39-b2c7-6de722d1b62c" providerId="ADAL" clId="{CCA05BC4-E4A3-4B78-9B1C-7909B82CC38B}" dt="2025-03-04T02:46:26.874" v="626" actId="1076"/>
          <ac:spMkLst>
            <pc:docMk/>
            <pc:sldMk cId="1558569887" sldId="2147480822"/>
            <ac:spMk id="1354" creationId="{9F9F4523-10B6-2E5E-4A01-A37607A3A1A4}"/>
          </ac:spMkLst>
        </pc:spChg>
        <pc:spChg chg="mod">
          <ac:chgData name="Alexis Ramirez" userId="a7c81f6c-ff5e-4a39-b2c7-6de722d1b62c" providerId="ADAL" clId="{CCA05BC4-E4A3-4B78-9B1C-7909B82CC38B}" dt="2025-03-04T02:42:54.804" v="588" actId="12789"/>
          <ac:spMkLst>
            <pc:docMk/>
            <pc:sldMk cId="1558569887" sldId="2147480822"/>
            <ac:spMk id="1357" creationId="{3F67C987-E8AF-BE31-53B6-9C4E22FBED03}"/>
          </ac:spMkLst>
        </pc:spChg>
        <pc:spChg chg="mod">
          <ac:chgData name="Alexis Ramirez" userId="a7c81f6c-ff5e-4a39-b2c7-6de722d1b62c" providerId="ADAL" clId="{CCA05BC4-E4A3-4B78-9B1C-7909B82CC38B}" dt="2025-03-04T02:42:54.804" v="588" actId="12789"/>
          <ac:spMkLst>
            <pc:docMk/>
            <pc:sldMk cId="1558569887" sldId="2147480822"/>
            <ac:spMk id="1363" creationId="{ABA4CECE-28DB-F388-A7E3-572F6CC991FB}"/>
          </ac:spMkLst>
        </pc:spChg>
        <pc:spChg chg="mod">
          <ac:chgData name="Alexis Ramirez" userId="a7c81f6c-ff5e-4a39-b2c7-6de722d1b62c" providerId="ADAL" clId="{CCA05BC4-E4A3-4B78-9B1C-7909B82CC38B}" dt="2025-03-04T02:43:22.259" v="591" actId="12789"/>
          <ac:spMkLst>
            <pc:docMk/>
            <pc:sldMk cId="1558569887" sldId="2147480822"/>
            <ac:spMk id="1364" creationId="{113B8120-581C-E5F8-C20D-A6C359215DBC}"/>
          </ac:spMkLst>
        </pc:spChg>
        <pc:spChg chg="mod">
          <ac:chgData name="Alexis Ramirez" userId="a7c81f6c-ff5e-4a39-b2c7-6de722d1b62c" providerId="ADAL" clId="{CCA05BC4-E4A3-4B78-9B1C-7909B82CC38B}" dt="2025-03-04T02:46:26.874" v="626" actId="1076"/>
          <ac:spMkLst>
            <pc:docMk/>
            <pc:sldMk cId="1558569887" sldId="2147480822"/>
            <ac:spMk id="1368" creationId="{9DE255DC-4ADE-8964-53BA-D4DFEFB66BFB}"/>
          </ac:spMkLst>
        </pc:spChg>
        <pc:spChg chg="mod">
          <ac:chgData name="Alexis Ramirez" userId="a7c81f6c-ff5e-4a39-b2c7-6de722d1b62c" providerId="ADAL" clId="{CCA05BC4-E4A3-4B78-9B1C-7909B82CC38B}" dt="2025-03-04T02:42:54.804" v="588" actId="12789"/>
          <ac:spMkLst>
            <pc:docMk/>
            <pc:sldMk cId="1558569887" sldId="2147480822"/>
            <ac:spMk id="1371" creationId="{7BC7F8B0-E840-6CC7-9394-ABAFE2FE815F}"/>
          </ac:spMkLst>
        </pc:spChg>
        <pc:spChg chg="mod">
          <ac:chgData name="Alexis Ramirez" userId="a7c81f6c-ff5e-4a39-b2c7-6de722d1b62c" providerId="ADAL" clId="{CCA05BC4-E4A3-4B78-9B1C-7909B82CC38B}" dt="2025-03-04T02:42:54.804" v="588" actId="12789"/>
          <ac:spMkLst>
            <pc:docMk/>
            <pc:sldMk cId="1558569887" sldId="2147480822"/>
            <ac:spMk id="1373" creationId="{E45018F9-77B1-49DB-C6BC-14E0A4537BF6}"/>
          </ac:spMkLst>
        </pc:spChg>
        <pc:spChg chg="mod">
          <ac:chgData name="Alexis Ramirez" userId="a7c81f6c-ff5e-4a39-b2c7-6de722d1b62c" providerId="ADAL" clId="{CCA05BC4-E4A3-4B78-9B1C-7909B82CC38B}" dt="2025-03-04T02:46:26.874" v="626" actId="1076"/>
          <ac:spMkLst>
            <pc:docMk/>
            <pc:sldMk cId="1558569887" sldId="2147480822"/>
            <ac:spMk id="1378" creationId="{DDE3578F-260D-A557-68F8-66602E28D7EE}"/>
          </ac:spMkLst>
        </pc:spChg>
        <pc:spChg chg="mod">
          <ac:chgData name="Alexis Ramirez" userId="a7c81f6c-ff5e-4a39-b2c7-6de722d1b62c" providerId="ADAL" clId="{CCA05BC4-E4A3-4B78-9B1C-7909B82CC38B}" dt="2025-03-04T02:42:54.804" v="588" actId="12789"/>
          <ac:spMkLst>
            <pc:docMk/>
            <pc:sldMk cId="1558569887" sldId="2147480822"/>
            <ac:spMk id="1379" creationId="{88E6A6CB-2FD8-21FD-72F9-BF0F7E654123}"/>
          </ac:spMkLst>
        </pc:spChg>
        <pc:spChg chg="mod">
          <ac:chgData name="Alexis Ramirez" userId="a7c81f6c-ff5e-4a39-b2c7-6de722d1b62c" providerId="ADAL" clId="{CCA05BC4-E4A3-4B78-9B1C-7909B82CC38B}" dt="2025-03-04T02:42:54.804" v="588" actId="12789"/>
          <ac:spMkLst>
            <pc:docMk/>
            <pc:sldMk cId="1558569887" sldId="2147480822"/>
            <ac:spMk id="1402" creationId="{640E430C-AB81-EFA3-BE02-D532901105F1}"/>
          </ac:spMkLst>
        </pc:spChg>
        <pc:spChg chg="mod">
          <ac:chgData name="Alexis Ramirez" userId="a7c81f6c-ff5e-4a39-b2c7-6de722d1b62c" providerId="ADAL" clId="{CCA05BC4-E4A3-4B78-9B1C-7909B82CC38B}" dt="2025-03-04T02:56:55.683" v="737" actId="1076"/>
          <ac:spMkLst>
            <pc:docMk/>
            <pc:sldMk cId="1558569887" sldId="2147480822"/>
            <ac:spMk id="1422" creationId="{E2C3CE57-362D-F458-8338-4A6CD93222AC}"/>
          </ac:spMkLst>
        </pc:spChg>
        <pc:spChg chg="mod">
          <ac:chgData name="Alexis Ramirez" userId="a7c81f6c-ff5e-4a39-b2c7-6de722d1b62c" providerId="ADAL" clId="{CCA05BC4-E4A3-4B78-9B1C-7909B82CC38B}" dt="2025-03-04T02:56:55.683" v="737" actId="1076"/>
          <ac:spMkLst>
            <pc:docMk/>
            <pc:sldMk cId="1558569887" sldId="2147480822"/>
            <ac:spMk id="1424" creationId="{97BFCDC0-8BE2-ADDD-4D8A-F3F6B5F3E346}"/>
          </ac:spMkLst>
        </pc:spChg>
        <pc:spChg chg="mod">
          <ac:chgData name="Alexis Ramirez" userId="a7c81f6c-ff5e-4a39-b2c7-6de722d1b62c" providerId="ADAL" clId="{CCA05BC4-E4A3-4B78-9B1C-7909B82CC38B}" dt="2025-03-04T02:55:53.416" v="709" actId="12789"/>
          <ac:spMkLst>
            <pc:docMk/>
            <pc:sldMk cId="1558569887" sldId="2147480822"/>
            <ac:spMk id="1426" creationId="{EE47DFE4-7BE4-2030-2E95-6BBCAACCCB20}"/>
          </ac:spMkLst>
        </pc:spChg>
        <pc:spChg chg="mod">
          <ac:chgData name="Alexis Ramirez" userId="a7c81f6c-ff5e-4a39-b2c7-6de722d1b62c" providerId="ADAL" clId="{CCA05BC4-E4A3-4B78-9B1C-7909B82CC38B}" dt="2025-03-04T02:55:53.416" v="709" actId="12789"/>
          <ac:spMkLst>
            <pc:docMk/>
            <pc:sldMk cId="1558569887" sldId="2147480822"/>
            <ac:spMk id="1429" creationId="{34D0F9DF-1A68-CC67-E042-D5FF7B0F9CE9}"/>
          </ac:spMkLst>
        </pc:spChg>
        <pc:spChg chg="mod">
          <ac:chgData name="Alexis Ramirez" userId="a7c81f6c-ff5e-4a39-b2c7-6de722d1b62c" providerId="ADAL" clId="{CCA05BC4-E4A3-4B78-9B1C-7909B82CC38B}" dt="2025-03-04T02:55:53.416" v="709" actId="12789"/>
          <ac:spMkLst>
            <pc:docMk/>
            <pc:sldMk cId="1558569887" sldId="2147480822"/>
            <ac:spMk id="1437" creationId="{6FF42C44-BD7D-80CC-EDEF-FD6A65F5816C}"/>
          </ac:spMkLst>
        </pc:spChg>
        <pc:spChg chg="mod">
          <ac:chgData name="Alexis Ramirez" userId="a7c81f6c-ff5e-4a39-b2c7-6de722d1b62c" providerId="ADAL" clId="{CCA05BC4-E4A3-4B78-9B1C-7909B82CC38B}" dt="2025-03-04T02:55:53.416" v="709" actId="12789"/>
          <ac:spMkLst>
            <pc:docMk/>
            <pc:sldMk cId="1558569887" sldId="2147480822"/>
            <ac:spMk id="1440" creationId="{EB521829-4689-F3A3-EAE4-24BB2911C86D}"/>
          </ac:spMkLst>
        </pc:spChg>
        <pc:spChg chg="mod">
          <ac:chgData name="Alexis Ramirez" userId="a7c81f6c-ff5e-4a39-b2c7-6de722d1b62c" providerId="ADAL" clId="{CCA05BC4-E4A3-4B78-9B1C-7909B82CC38B}" dt="2025-03-04T02:28:48.019" v="497" actId="1076"/>
          <ac:spMkLst>
            <pc:docMk/>
            <pc:sldMk cId="1558569887" sldId="2147480822"/>
            <ac:spMk id="1444" creationId="{A1555D36-EA8B-F1ED-9DB8-DF52EB893ADA}"/>
          </ac:spMkLst>
        </pc:spChg>
        <pc:spChg chg="del mod">
          <ac:chgData name="Alexis Ramirez" userId="a7c81f6c-ff5e-4a39-b2c7-6de722d1b62c" providerId="ADAL" clId="{CCA05BC4-E4A3-4B78-9B1C-7909B82CC38B}" dt="2025-03-04T02:34:01.742" v="537" actId="478"/>
          <ac:spMkLst>
            <pc:docMk/>
            <pc:sldMk cId="1558569887" sldId="2147480822"/>
            <ac:spMk id="1445" creationId="{895C1067-2EA3-8110-2D85-B8F525E0ABAA}"/>
          </ac:spMkLst>
        </pc:spChg>
        <pc:spChg chg="del mod topLvl">
          <ac:chgData name="Alexis Ramirez" userId="a7c81f6c-ff5e-4a39-b2c7-6de722d1b62c" providerId="ADAL" clId="{CCA05BC4-E4A3-4B78-9B1C-7909B82CC38B}" dt="2025-03-04T02:34:18.935" v="544" actId="478"/>
          <ac:spMkLst>
            <pc:docMk/>
            <pc:sldMk cId="1558569887" sldId="2147480822"/>
            <ac:spMk id="1467" creationId="{B3506090-963F-9EDD-40A7-D3E2E35AA44D}"/>
          </ac:spMkLst>
        </pc:spChg>
        <pc:spChg chg="del mod topLvl">
          <ac:chgData name="Alexis Ramirez" userId="a7c81f6c-ff5e-4a39-b2c7-6de722d1b62c" providerId="ADAL" clId="{CCA05BC4-E4A3-4B78-9B1C-7909B82CC38B}" dt="2025-03-04T02:34:33.942" v="549" actId="478"/>
          <ac:spMkLst>
            <pc:docMk/>
            <pc:sldMk cId="1558569887" sldId="2147480822"/>
            <ac:spMk id="1469" creationId="{11A3DC4E-63A8-A5E2-3AD8-71903E2D661E}"/>
          </ac:spMkLst>
        </pc:spChg>
        <pc:spChg chg="mod">
          <ac:chgData name="Alexis Ramirez" userId="a7c81f6c-ff5e-4a39-b2c7-6de722d1b62c" providerId="ADAL" clId="{CCA05BC4-E4A3-4B78-9B1C-7909B82CC38B}" dt="2025-03-04T02:53:51.107" v="689" actId="2711"/>
          <ac:spMkLst>
            <pc:docMk/>
            <pc:sldMk cId="1558569887" sldId="2147480822"/>
            <ac:spMk id="1470" creationId="{778C5A11-B49F-A3A5-A28C-B2D7CF44C5CA}"/>
          </ac:spMkLst>
        </pc:spChg>
        <pc:spChg chg="mod">
          <ac:chgData name="Alexis Ramirez" userId="a7c81f6c-ff5e-4a39-b2c7-6de722d1b62c" providerId="ADAL" clId="{CCA05BC4-E4A3-4B78-9B1C-7909B82CC38B}" dt="2025-03-04T02:54:03.761" v="692" actId="108"/>
          <ac:spMkLst>
            <pc:docMk/>
            <pc:sldMk cId="1558569887" sldId="2147480822"/>
            <ac:spMk id="1475" creationId="{3B171A20-2CE6-DCB7-6412-D8A495496FE0}"/>
          </ac:spMkLst>
        </pc:spChg>
        <pc:spChg chg="del mod">
          <ac:chgData name="Alexis Ramirez" userId="a7c81f6c-ff5e-4a39-b2c7-6de722d1b62c" providerId="ADAL" clId="{CCA05BC4-E4A3-4B78-9B1C-7909B82CC38B}" dt="2025-03-04T03:09:42.818" v="761" actId="478"/>
          <ac:spMkLst>
            <pc:docMk/>
            <pc:sldMk cId="1558569887" sldId="2147480822"/>
            <ac:spMk id="1479" creationId="{931FBB1E-1835-3B7C-9F39-15AFED0EFA9A}"/>
          </ac:spMkLst>
        </pc:spChg>
        <pc:spChg chg="mod">
          <ac:chgData name="Alexis Ramirez" userId="a7c81f6c-ff5e-4a39-b2c7-6de722d1b62c" providerId="ADAL" clId="{CCA05BC4-E4A3-4B78-9B1C-7909B82CC38B}" dt="2025-03-04T02:53:58.473" v="690" actId="108"/>
          <ac:spMkLst>
            <pc:docMk/>
            <pc:sldMk cId="1558569887" sldId="2147480822"/>
            <ac:spMk id="1481" creationId="{A80F0BF1-9EAD-1783-C37E-F7E731E38E4E}"/>
          </ac:spMkLst>
        </pc:spChg>
        <pc:spChg chg="del">
          <ac:chgData name="Alexis Ramirez" userId="a7c81f6c-ff5e-4a39-b2c7-6de722d1b62c" providerId="ADAL" clId="{CCA05BC4-E4A3-4B78-9B1C-7909B82CC38B}" dt="2025-03-04T02:50:21.708" v="662" actId="478"/>
          <ac:spMkLst>
            <pc:docMk/>
            <pc:sldMk cId="1558569887" sldId="2147480822"/>
            <ac:spMk id="1491" creationId="{1466190D-F5DF-CD77-55B6-762EF182D68F}"/>
          </ac:spMkLst>
        </pc:spChg>
        <pc:spChg chg="del">
          <ac:chgData name="Alexis Ramirez" userId="a7c81f6c-ff5e-4a39-b2c7-6de722d1b62c" providerId="ADAL" clId="{CCA05BC4-E4A3-4B78-9B1C-7909B82CC38B}" dt="2025-03-04T02:50:36.414" v="666" actId="478"/>
          <ac:spMkLst>
            <pc:docMk/>
            <pc:sldMk cId="1558569887" sldId="2147480822"/>
            <ac:spMk id="1492" creationId="{4C239AD3-157B-9BBF-8F90-913F51543E59}"/>
          </ac:spMkLst>
        </pc:spChg>
        <pc:spChg chg="del">
          <ac:chgData name="Alexis Ramirez" userId="a7c81f6c-ff5e-4a39-b2c7-6de722d1b62c" providerId="ADAL" clId="{CCA05BC4-E4A3-4B78-9B1C-7909B82CC38B}" dt="2025-03-04T02:50:50.396" v="670" actId="478"/>
          <ac:spMkLst>
            <pc:docMk/>
            <pc:sldMk cId="1558569887" sldId="2147480822"/>
            <ac:spMk id="1493" creationId="{CAEC9955-04B0-3BC7-F1B7-B584A6BABDB6}"/>
          </ac:spMkLst>
        </pc:spChg>
        <pc:spChg chg="mod">
          <ac:chgData name="Alexis Ramirez" userId="a7c81f6c-ff5e-4a39-b2c7-6de722d1b62c" providerId="ADAL" clId="{CCA05BC4-E4A3-4B78-9B1C-7909B82CC38B}" dt="2025-03-04T02:54:08.201" v="694" actId="108"/>
          <ac:spMkLst>
            <pc:docMk/>
            <pc:sldMk cId="1558569887" sldId="2147480822"/>
            <ac:spMk id="1494" creationId="{8CABB735-B4BB-1A64-AFEA-19FBE0A469A0}"/>
          </ac:spMkLst>
        </pc:spChg>
        <pc:spChg chg="mod">
          <ac:chgData name="Alexis Ramirez" userId="a7c81f6c-ff5e-4a39-b2c7-6de722d1b62c" providerId="ADAL" clId="{CCA05BC4-E4A3-4B78-9B1C-7909B82CC38B}" dt="2025-03-04T02:54:01.849" v="691" actId="108"/>
          <ac:spMkLst>
            <pc:docMk/>
            <pc:sldMk cId="1558569887" sldId="2147480822"/>
            <ac:spMk id="1499" creationId="{B514C9A5-9C79-DE58-734C-940D9854C46D}"/>
          </ac:spMkLst>
        </pc:spChg>
        <pc:spChg chg="mod">
          <ac:chgData name="Alexis Ramirez" userId="a7c81f6c-ff5e-4a39-b2c7-6de722d1b62c" providerId="ADAL" clId="{CCA05BC4-E4A3-4B78-9B1C-7909B82CC38B}" dt="2025-03-04T02:54:05.705" v="693" actId="108"/>
          <ac:spMkLst>
            <pc:docMk/>
            <pc:sldMk cId="1558569887" sldId="2147480822"/>
            <ac:spMk id="1501" creationId="{E8038A61-AE11-AC3B-CAD7-E9C809901C09}"/>
          </ac:spMkLst>
        </pc:spChg>
        <pc:spChg chg="del">
          <ac:chgData name="Alexis Ramirez" userId="a7c81f6c-ff5e-4a39-b2c7-6de722d1b62c" providerId="ADAL" clId="{CCA05BC4-E4A3-4B78-9B1C-7909B82CC38B}" dt="2025-03-04T03:10:05.610" v="766" actId="478"/>
          <ac:spMkLst>
            <pc:docMk/>
            <pc:sldMk cId="1558569887" sldId="2147480822"/>
            <ac:spMk id="1503" creationId="{19356881-5BFA-FBBF-24AE-83BFDE5D1830}"/>
          </ac:spMkLst>
        </pc:spChg>
        <pc:spChg chg="mod">
          <ac:chgData name="Alexis Ramirez" userId="a7c81f6c-ff5e-4a39-b2c7-6de722d1b62c" providerId="ADAL" clId="{CCA05BC4-E4A3-4B78-9B1C-7909B82CC38B}" dt="2025-03-04T02:54:09.785" v="695" actId="108"/>
          <ac:spMkLst>
            <pc:docMk/>
            <pc:sldMk cId="1558569887" sldId="2147480822"/>
            <ac:spMk id="1505" creationId="{4149ED45-8D92-A7EF-AB0D-352641F4B34F}"/>
          </ac:spMkLst>
        </pc:spChg>
        <pc:spChg chg="del">
          <ac:chgData name="Alexis Ramirez" userId="a7c81f6c-ff5e-4a39-b2c7-6de722d1b62c" providerId="ADAL" clId="{CCA05BC4-E4A3-4B78-9B1C-7909B82CC38B}" dt="2025-03-04T02:50:08.524" v="658" actId="478"/>
          <ac:spMkLst>
            <pc:docMk/>
            <pc:sldMk cId="1558569887" sldId="2147480822"/>
            <ac:spMk id="1509" creationId="{E8399EA3-3F83-9CEB-847E-4CC5128D7200}"/>
          </ac:spMkLst>
        </pc:spChg>
        <pc:spChg chg="del mod">
          <ac:chgData name="Alexis Ramirez" userId="a7c81f6c-ff5e-4a39-b2c7-6de722d1b62c" providerId="ADAL" clId="{CCA05BC4-E4A3-4B78-9B1C-7909B82CC38B}" dt="2025-03-04T02:34:38.363" v="551" actId="478"/>
          <ac:spMkLst>
            <pc:docMk/>
            <pc:sldMk cId="1558569887" sldId="2147480822"/>
            <ac:spMk id="1510" creationId="{6E1D9DD8-50EB-5B7C-4195-C56B4DA3BB75}"/>
          </ac:spMkLst>
        </pc:spChg>
        <pc:spChg chg="mod">
          <ac:chgData name="Alexis Ramirez" userId="a7c81f6c-ff5e-4a39-b2c7-6de722d1b62c" providerId="ADAL" clId="{CCA05BC4-E4A3-4B78-9B1C-7909B82CC38B}" dt="2025-03-04T02:47:01.899" v="639" actId="255"/>
          <ac:spMkLst>
            <pc:docMk/>
            <pc:sldMk cId="1558569887" sldId="2147480822"/>
            <ac:spMk id="1512" creationId="{F086D695-FADF-AA93-509B-585A5417336D}"/>
          </ac:spMkLst>
        </pc:spChg>
        <pc:spChg chg="mod">
          <ac:chgData name="Alexis Ramirez" userId="a7c81f6c-ff5e-4a39-b2c7-6de722d1b62c" providerId="ADAL" clId="{CCA05BC4-E4A3-4B78-9B1C-7909B82CC38B}" dt="2025-03-04T02:22:21.532" v="450" actId="1582"/>
          <ac:spMkLst>
            <pc:docMk/>
            <pc:sldMk cId="1558569887" sldId="2147480822"/>
            <ac:spMk id="1513" creationId="{2C91E046-D302-D67D-7E24-D8E3D1A6123F}"/>
          </ac:spMkLst>
        </pc:spChg>
        <pc:spChg chg="del">
          <ac:chgData name="Alexis Ramirez" userId="a7c81f6c-ff5e-4a39-b2c7-6de722d1b62c" providerId="ADAL" clId="{CCA05BC4-E4A3-4B78-9B1C-7909B82CC38B}" dt="2025-03-04T02:56:39.740" v="735" actId="478"/>
          <ac:spMkLst>
            <pc:docMk/>
            <pc:sldMk cId="1558569887" sldId="2147480822"/>
            <ac:spMk id="1515" creationId="{A67B9EEE-4AF9-6D25-60A2-F00672F67570}"/>
          </ac:spMkLst>
        </pc:spChg>
        <pc:spChg chg="mod">
          <ac:chgData name="Alexis Ramirez" userId="a7c81f6c-ff5e-4a39-b2c7-6de722d1b62c" providerId="ADAL" clId="{CCA05BC4-E4A3-4B78-9B1C-7909B82CC38B}" dt="2025-03-04T02:47:10.457" v="641" actId="255"/>
          <ac:spMkLst>
            <pc:docMk/>
            <pc:sldMk cId="1558569887" sldId="2147480822"/>
            <ac:spMk id="1522" creationId="{35A19707-D12C-C0ED-ADA9-34F0C4016F28}"/>
          </ac:spMkLst>
        </pc:spChg>
        <pc:spChg chg="mod">
          <ac:chgData name="Alexis Ramirez" userId="a7c81f6c-ff5e-4a39-b2c7-6de722d1b62c" providerId="ADAL" clId="{CCA05BC4-E4A3-4B78-9B1C-7909B82CC38B}" dt="2025-03-04T02:22:45.852" v="453" actId="1582"/>
          <ac:spMkLst>
            <pc:docMk/>
            <pc:sldMk cId="1558569887" sldId="2147480822"/>
            <ac:spMk id="1523" creationId="{34B83B7A-69D2-8E2D-C4B6-ABA7377C0FE2}"/>
          </ac:spMkLst>
        </pc:spChg>
        <pc:spChg chg="mod">
          <ac:chgData name="Alexis Ramirez" userId="a7c81f6c-ff5e-4a39-b2c7-6de722d1b62c" providerId="ADAL" clId="{CCA05BC4-E4A3-4B78-9B1C-7909B82CC38B}" dt="2025-03-04T02:47:06.794" v="640" actId="255"/>
          <ac:spMkLst>
            <pc:docMk/>
            <pc:sldMk cId="1558569887" sldId="2147480822"/>
            <ac:spMk id="1526" creationId="{5E097204-9F94-5CC7-B9A9-A08118BF5F4D}"/>
          </ac:spMkLst>
        </pc:spChg>
        <pc:spChg chg="mod">
          <ac:chgData name="Alexis Ramirez" userId="a7c81f6c-ff5e-4a39-b2c7-6de722d1b62c" providerId="ADAL" clId="{CCA05BC4-E4A3-4B78-9B1C-7909B82CC38B}" dt="2025-03-04T02:22:39.707" v="452" actId="1582"/>
          <ac:spMkLst>
            <pc:docMk/>
            <pc:sldMk cId="1558569887" sldId="2147480822"/>
            <ac:spMk id="1527" creationId="{AFB24593-A392-58C6-8348-88CB8E277484}"/>
          </ac:spMkLst>
        </pc:spChg>
        <pc:grpChg chg="mod">
          <ac:chgData name="Alexis Ramirez" userId="a7c81f6c-ff5e-4a39-b2c7-6de722d1b62c" providerId="ADAL" clId="{CCA05BC4-E4A3-4B78-9B1C-7909B82CC38B}" dt="2025-03-04T02:30:35.079" v="513" actId="14100"/>
          <ac:grpSpMkLst>
            <pc:docMk/>
            <pc:sldMk cId="1558569887" sldId="2147480822"/>
            <ac:grpSpMk id="5" creationId="{99EC4D82-2648-81BF-1A35-C591AF1B2646}"/>
          </ac:grpSpMkLst>
        </pc:grpChg>
        <pc:grpChg chg="mod">
          <ac:chgData name="Alexis Ramirez" userId="a7c81f6c-ff5e-4a39-b2c7-6de722d1b62c" providerId="ADAL" clId="{CCA05BC4-E4A3-4B78-9B1C-7909B82CC38B}" dt="2025-03-04T02:55:32.182" v="707" actId="12789"/>
          <ac:grpSpMkLst>
            <pc:docMk/>
            <pc:sldMk cId="1558569887" sldId="2147480822"/>
            <ac:grpSpMk id="1416" creationId="{4F8EB6FC-3C40-6A10-1023-B59E6C46569B}"/>
          </ac:grpSpMkLst>
        </pc:grpChg>
        <pc:grpChg chg="del mod">
          <ac:chgData name="Alexis Ramirez" userId="a7c81f6c-ff5e-4a39-b2c7-6de722d1b62c" providerId="ADAL" clId="{CCA05BC4-E4A3-4B78-9B1C-7909B82CC38B}" dt="2025-03-04T03:10:22.856" v="770" actId="478"/>
          <ac:grpSpMkLst>
            <pc:docMk/>
            <pc:sldMk cId="1558569887" sldId="2147480822"/>
            <ac:grpSpMk id="1442" creationId="{6B263221-ABBB-D3EA-7BEB-FCD52ED5FDC0}"/>
          </ac:grpSpMkLst>
        </pc:grpChg>
        <pc:grpChg chg="del">
          <ac:chgData name="Alexis Ramirez" userId="a7c81f6c-ff5e-4a39-b2c7-6de722d1b62c" providerId="ADAL" clId="{CCA05BC4-E4A3-4B78-9B1C-7909B82CC38B}" dt="2025-03-04T03:09:36.894" v="760" actId="478"/>
          <ac:grpSpMkLst>
            <pc:docMk/>
            <pc:sldMk cId="1558569887" sldId="2147480822"/>
            <ac:grpSpMk id="1476" creationId="{8A6D2032-54AC-9409-7900-4B03FCBB45C9}"/>
          </ac:grpSpMkLst>
        </pc:grpChg>
        <pc:grpChg chg="del">
          <ac:chgData name="Alexis Ramirez" userId="a7c81f6c-ff5e-4a39-b2c7-6de722d1b62c" providerId="ADAL" clId="{CCA05BC4-E4A3-4B78-9B1C-7909B82CC38B}" dt="2025-03-04T03:10:05.610" v="766" actId="478"/>
          <ac:grpSpMkLst>
            <pc:docMk/>
            <pc:sldMk cId="1558569887" sldId="2147480822"/>
            <ac:grpSpMk id="1488" creationId="{A0CE3331-E394-43CC-3B36-72666B432B21}"/>
          </ac:grpSpMkLst>
        </pc:grpChg>
        <pc:grpChg chg="del">
          <ac:chgData name="Alexis Ramirez" userId="a7c81f6c-ff5e-4a39-b2c7-6de722d1b62c" providerId="ADAL" clId="{CCA05BC4-E4A3-4B78-9B1C-7909B82CC38B}" dt="2025-03-04T03:09:57.636" v="765" actId="478"/>
          <ac:grpSpMkLst>
            <pc:docMk/>
            <pc:sldMk cId="1558569887" sldId="2147480822"/>
            <ac:grpSpMk id="1500" creationId="{187B6381-8536-6670-04AF-9921C8D77027}"/>
          </ac:grpSpMkLst>
        </pc:grpChg>
        <pc:grpChg chg="mod">
          <ac:chgData name="Alexis Ramirez" userId="a7c81f6c-ff5e-4a39-b2c7-6de722d1b62c" providerId="ADAL" clId="{CCA05BC4-E4A3-4B78-9B1C-7909B82CC38B}" dt="2025-03-04T02:22:11.508" v="449" actId="14100"/>
          <ac:grpSpMkLst>
            <pc:docMk/>
            <pc:sldMk cId="1558569887" sldId="2147480822"/>
            <ac:grpSpMk id="1511" creationId="{C04AC35F-B93B-0EFB-8BDE-845F8A5C97CF}"/>
          </ac:grpSpMkLst>
        </pc:grpChg>
        <pc:grpChg chg="mod">
          <ac:chgData name="Alexis Ramirez" userId="a7c81f6c-ff5e-4a39-b2c7-6de722d1b62c" providerId="ADAL" clId="{CCA05BC4-E4A3-4B78-9B1C-7909B82CC38B}" dt="2025-03-04T02:29:01.548" v="499" actId="1076"/>
          <ac:grpSpMkLst>
            <pc:docMk/>
            <pc:sldMk cId="1558569887" sldId="2147480822"/>
            <ac:grpSpMk id="1530" creationId="{DFE31890-E1AE-3A69-787B-2E395F635B61}"/>
          </ac:grpSpMkLst>
        </pc:grpChg>
        <pc:picChg chg="add mod">
          <ac:chgData name="Alexis Ramirez" userId="a7c81f6c-ff5e-4a39-b2c7-6de722d1b62c" providerId="ADAL" clId="{CCA05BC4-E4A3-4B78-9B1C-7909B82CC38B}" dt="2025-03-04T02:34:10.426" v="541" actId="1076"/>
          <ac:picMkLst>
            <pc:docMk/>
            <pc:sldMk cId="1558569887" sldId="2147480822"/>
            <ac:picMk id="26" creationId="{90F2494B-3BBB-5B24-83CD-262D9EA1322A}"/>
          </ac:picMkLst>
        </pc:picChg>
        <pc:picChg chg="add del mod">
          <ac:chgData name="Alexis Ramirez" userId="a7c81f6c-ff5e-4a39-b2c7-6de722d1b62c" providerId="ADAL" clId="{CCA05BC4-E4A3-4B78-9B1C-7909B82CC38B}" dt="2025-03-04T02:52:32.282" v="687" actId="478"/>
          <ac:picMkLst>
            <pc:docMk/>
            <pc:sldMk cId="1558569887" sldId="2147480822"/>
            <ac:picMk id="27" creationId="{61369DC9-B62F-675A-6AAA-BADF00A32153}"/>
          </ac:picMkLst>
        </pc:picChg>
        <pc:picChg chg="add del mod">
          <ac:chgData name="Alexis Ramirez" userId="a7c81f6c-ff5e-4a39-b2c7-6de722d1b62c" providerId="ADAL" clId="{CCA05BC4-E4A3-4B78-9B1C-7909B82CC38B}" dt="2025-03-04T02:49:42.756" v="650" actId="478"/>
          <ac:picMkLst>
            <pc:docMk/>
            <pc:sldMk cId="1558569887" sldId="2147480822"/>
            <ac:picMk id="28" creationId="{8BCAB770-287E-9E2C-E206-E4CFD247413E}"/>
          </ac:picMkLst>
        </pc:picChg>
        <pc:picChg chg="add del mod">
          <ac:chgData name="Alexis Ramirez" userId="a7c81f6c-ff5e-4a39-b2c7-6de722d1b62c" providerId="ADAL" clId="{CCA05BC4-E4A3-4B78-9B1C-7909B82CC38B}" dt="2025-03-04T02:49:52.576" v="654" actId="478"/>
          <ac:picMkLst>
            <pc:docMk/>
            <pc:sldMk cId="1558569887" sldId="2147480822"/>
            <ac:picMk id="29" creationId="{82565266-1241-94C8-2366-51ED3123BC56}"/>
          </ac:picMkLst>
        </pc:picChg>
        <pc:picChg chg="add mod">
          <ac:chgData name="Alexis Ramirez" userId="a7c81f6c-ff5e-4a39-b2c7-6de722d1b62c" providerId="ADAL" clId="{CCA05BC4-E4A3-4B78-9B1C-7909B82CC38B}" dt="2025-03-04T02:45:35.465" v="616" actId="1076"/>
          <ac:picMkLst>
            <pc:docMk/>
            <pc:sldMk cId="1558569887" sldId="2147480822"/>
            <ac:picMk id="30" creationId="{E6EDC3B5-6010-03A6-20C7-5D028F2F9102}"/>
          </ac:picMkLst>
        </pc:picChg>
        <pc:picChg chg="add mod">
          <ac:chgData name="Alexis Ramirez" userId="a7c81f6c-ff5e-4a39-b2c7-6de722d1b62c" providerId="ADAL" clId="{CCA05BC4-E4A3-4B78-9B1C-7909B82CC38B}" dt="2025-03-04T02:45:42.833" v="619" actId="1076"/>
          <ac:picMkLst>
            <pc:docMk/>
            <pc:sldMk cId="1558569887" sldId="2147480822"/>
            <ac:picMk id="31" creationId="{D993ABD9-20D1-BBD9-0EDD-850FC553AA56}"/>
          </ac:picMkLst>
        </pc:picChg>
        <pc:picChg chg="add mod">
          <ac:chgData name="Alexis Ramirez" userId="a7c81f6c-ff5e-4a39-b2c7-6de722d1b62c" providerId="ADAL" clId="{CCA05BC4-E4A3-4B78-9B1C-7909B82CC38B}" dt="2025-03-04T02:49:51.514" v="653" actId="1076"/>
          <ac:picMkLst>
            <pc:docMk/>
            <pc:sldMk cId="1558569887" sldId="2147480822"/>
            <ac:picMk id="33" creationId="{B85E87D0-A88A-D440-6E8D-5937932E1844}"/>
          </ac:picMkLst>
        </pc:picChg>
        <pc:picChg chg="add mod">
          <ac:chgData name="Alexis Ramirez" userId="a7c81f6c-ff5e-4a39-b2c7-6de722d1b62c" providerId="ADAL" clId="{CCA05BC4-E4A3-4B78-9B1C-7909B82CC38B}" dt="2025-03-04T02:49:59.641" v="657" actId="1076"/>
          <ac:picMkLst>
            <pc:docMk/>
            <pc:sldMk cId="1558569887" sldId="2147480822"/>
            <ac:picMk id="34" creationId="{8B360F0A-E5A5-316D-4461-9389B6376C77}"/>
          </ac:picMkLst>
        </pc:picChg>
        <pc:picChg chg="add mod">
          <ac:chgData name="Alexis Ramirez" userId="a7c81f6c-ff5e-4a39-b2c7-6de722d1b62c" providerId="ADAL" clId="{CCA05BC4-E4A3-4B78-9B1C-7909B82CC38B}" dt="2025-03-04T02:50:17.746" v="661" actId="1076"/>
          <ac:picMkLst>
            <pc:docMk/>
            <pc:sldMk cId="1558569887" sldId="2147480822"/>
            <ac:picMk id="35" creationId="{2A6DF44E-8D08-77E5-0811-A3C2CA251848}"/>
          </ac:picMkLst>
        </pc:picChg>
        <pc:picChg chg="add mod">
          <ac:chgData name="Alexis Ramirez" userId="a7c81f6c-ff5e-4a39-b2c7-6de722d1b62c" providerId="ADAL" clId="{CCA05BC4-E4A3-4B78-9B1C-7909B82CC38B}" dt="2025-03-04T02:50:28.376" v="665" actId="1076"/>
          <ac:picMkLst>
            <pc:docMk/>
            <pc:sldMk cId="1558569887" sldId="2147480822"/>
            <ac:picMk id="36" creationId="{57694C64-7296-1EDD-F809-56F1E4518366}"/>
          </ac:picMkLst>
        </pc:picChg>
        <pc:picChg chg="add mod">
          <ac:chgData name="Alexis Ramirez" userId="a7c81f6c-ff5e-4a39-b2c7-6de722d1b62c" providerId="ADAL" clId="{CCA05BC4-E4A3-4B78-9B1C-7909B82CC38B}" dt="2025-03-04T02:50:45.576" v="669" actId="1076"/>
          <ac:picMkLst>
            <pc:docMk/>
            <pc:sldMk cId="1558569887" sldId="2147480822"/>
            <ac:picMk id="37" creationId="{6EA65A8B-8387-1E88-D27C-72CFECC01C5C}"/>
          </ac:picMkLst>
        </pc:picChg>
        <pc:picChg chg="mod">
          <ac:chgData name="Alexis Ramirez" userId="a7c81f6c-ff5e-4a39-b2c7-6de722d1b62c" providerId="ADAL" clId="{CCA05BC4-E4A3-4B78-9B1C-7909B82CC38B}" dt="2025-03-04T02:46:47.422" v="638" actId="1036"/>
          <ac:picMkLst>
            <pc:docMk/>
            <pc:sldMk cId="1558569887" sldId="2147480822"/>
            <ac:picMk id="38" creationId="{4C54B98A-0342-8F34-EC6D-98CA78BCF7B8}"/>
          </ac:picMkLst>
        </pc:picChg>
        <pc:picChg chg="add mod">
          <ac:chgData name="Alexis Ramirez" userId="a7c81f6c-ff5e-4a39-b2c7-6de722d1b62c" providerId="ADAL" clId="{CCA05BC4-E4A3-4B78-9B1C-7909B82CC38B}" dt="2025-03-04T02:50:57.520" v="673" actId="1076"/>
          <ac:picMkLst>
            <pc:docMk/>
            <pc:sldMk cId="1558569887" sldId="2147480822"/>
            <ac:picMk id="39" creationId="{DB3E5609-70D2-45D1-46CE-5B3981F932C4}"/>
          </ac:picMkLst>
        </pc:picChg>
        <pc:picChg chg="add mod">
          <ac:chgData name="Alexis Ramirez" userId="a7c81f6c-ff5e-4a39-b2c7-6de722d1b62c" providerId="ADAL" clId="{CCA05BC4-E4A3-4B78-9B1C-7909B82CC38B}" dt="2025-03-04T02:52:36.944" v="688" actId="1076"/>
          <ac:picMkLst>
            <pc:docMk/>
            <pc:sldMk cId="1558569887" sldId="2147480822"/>
            <ac:picMk id="40" creationId="{9F6E1778-8B43-55F3-E996-3D1469BE8C1F}"/>
          </ac:picMkLst>
        </pc:picChg>
        <pc:picChg chg="add mod">
          <ac:chgData name="Alexis Ramirez" userId="a7c81f6c-ff5e-4a39-b2c7-6de722d1b62c" providerId="ADAL" clId="{CCA05BC4-E4A3-4B78-9B1C-7909B82CC38B}" dt="2025-03-04T03:09:52.430" v="764" actId="14100"/>
          <ac:picMkLst>
            <pc:docMk/>
            <pc:sldMk cId="1558569887" sldId="2147480822"/>
            <ac:picMk id="41" creationId="{A27CA076-1625-F987-6A6F-AA2472069D0A}"/>
          </ac:picMkLst>
        </pc:picChg>
        <pc:picChg chg="add mod">
          <ac:chgData name="Alexis Ramirez" userId="a7c81f6c-ff5e-4a39-b2c7-6de722d1b62c" providerId="ADAL" clId="{CCA05BC4-E4A3-4B78-9B1C-7909B82CC38B}" dt="2025-03-04T03:10:17.437" v="769" actId="1076"/>
          <ac:picMkLst>
            <pc:docMk/>
            <pc:sldMk cId="1558569887" sldId="2147480822"/>
            <ac:picMk id="42" creationId="{59493170-65A4-60D0-DC7C-5E690D664987}"/>
          </ac:picMkLst>
        </pc:picChg>
        <pc:picChg chg="add mod">
          <ac:chgData name="Alexis Ramirez" userId="a7c81f6c-ff5e-4a39-b2c7-6de722d1b62c" providerId="ADAL" clId="{CCA05BC4-E4A3-4B78-9B1C-7909B82CC38B}" dt="2025-03-04T03:10:40.278" v="775" actId="1076"/>
          <ac:picMkLst>
            <pc:docMk/>
            <pc:sldMk cId="1558569887" sldId="2147480822"/>
            <ac:picMk id="43" creationId="{BD539071-74A3-CD7D-4EEC-EFF47DE8C113}"/>
          </ac:picMkLst>
        </pc:picChg>
        <pc:picChg chg="mod">
          <ac:chgData name="Alexis Ramirez" userId="a7c81f6c-ff5e-4a39-b2c7-6de722d1b62c" providerId="ADAL" clId="{CCA05BC4-E4A3-4B78-9B1C-7909B82CC38B}" dt="2025-03-04T02:46:47.422" v="638" actId="1036"/>
          <ac:picMkLst>
            <pc:docMk/>
            <pc:sldMk cId="1558569887" sldId="2147480822"/>
            <ac:picMk id="59" creationId="{8B9D423F-F1D2-1576-3F50-31DDBEF64832}"/>
          </ac:picMkLst>
        </pc:picChg>
        <pc:picChg chg="mod">
          <ac:chgData name="Alexis Ramirez" userId="a7c81f6c-ff5e-4a39-b2c7-6de722d1b62c" providerId="ADAL" clId="{CCA05BC4-E4A3-4B78-9B1C-7909B82CC38B}" dt="2025-03-04T02:46:47.422" v="638" actId="1036"/>
          <ac:picMkLst>
            <pc:docMk/>
            <pc:sldMk cId="1558569887" sldId="2147480822"/>
            <ac:picMk id="1344" creationId="{CC27907B-91CE-902F-5699-556B19DD40CD}"/>
          </ac:picMkLst>
        </pc:picChg>
        <pc:picChg chg="mod">
          <ac:chgData name="Alexis Ramirez" userId="a7c81f6c-ff5e-4a39-b2c7-6de722d1b62c" providerId="ADAL" clId="{CCA05BC4-E4A3-4B78-9B1C-7909B82CC38B}" dt="2025-03-04T02:43:22.259" v="591" actId="12789"/>
          <ac:picMkLst>
            <pc:docMk/>
            <pc:sldMk cId="1558569887" sldId="2147480822"/>
            <ac:picMk id="1374" creationId="{5CC7A01E-E2FB-ED82-1F04-27DD371F17A4}"/>
          </ac:picMkLst>
        </pc:picChg>
        <pc:picChg chg="mod">
          <ac:chgData name="Alexis Ramirez" userId="a7c81f6c-ff5e-4a39-b2c7-6de722d1b62c" providerId="ADAL" clId="{CCA05BC4-E4A3-4B78-9B1C-7909B82CC38B}" dt="2025-03-04T02:43:22.259" v="591" actId="12789"/>
          <ac:picMkLst>
            <pc:docMk/>
            <pc:sldMk cId="1558569887" sldId="2147480822"/>
            <ac:picMk id="1410" creationId="{5161EEE4-3B64-7DBD-B500-A34358902ADC}"/>
          </ac:picMkLst>
        </pc:picChg>
        <pc:picChg chg="mod">
          <ac:chgData name="Alexis Ramirez" userId="a7c81f6c-ff5e-4a39-b2c7-6de722d1b62c" providerId="ADAL" clId="{CCA05BC4-E4A3-4B78-9B1C-7909B82CC38B}" dt="2025-03-04T02:56:23.188" v="734" actId="1036"/>
          <ac:picMkLst>
            <pc:docMk/>
            <pc:sldMk cId="1558569887" sldId="2147480822"/>
            <ac:picMk id="1425" creationId="{8657C19F-C679-56A8-8322-EE569724F1D2}"/>
          </ac:picMkLst>
        </pc:picChg>
        <pc:picChg chg="mod">
          <ac:chgData name="Alexis Ramirez" userId="a7c81f6c-ff5e-4a39-b2c7-6de722d1b62c" providerId="ADAL" clId="{CCA05BC4-E4A3-4B78-9B1C-7909B82CC38B}" dt="2025-03-04T02:56:15.075" v="725" actId="1038"/>
          <ac:picMkLst>
            <pc:docMk/>
            <pc:sldMk cId="1558569887" sldId="2147480822"/>
            <ac:picMk id="1436" creationId="{EAB79759-5399-C79E-B7BD-974ABAF0B767}"/>
          </ac:picMkLst>
        </pc:picChg>
        <pc:picChg chg="mod">
          <ac:chgData name="Alexis Ramirez" userId="a7c81f6c-ff5e-4a39-b2c7-6de722d1b62c" providerId="ADAL" clId="{CCA05BC4-E4A3-4B78-9B1C-7909B82CC38B}" dt="2025-03-04T02:56:04.984" v="719" actId="1035"/>
          <ac:picMkLst>
            <pc:docMk/>
            <pc:sldMk cId="1558569887" sldId="2147480822"/>
            <ac:picMk id="1441" creationId="{8D91E6E5-D2DF-0FD1-D638-0F55E0EB775E}"/>
          </ac:picMkLst>
        </pc:picChg>
        <pc:picChg chg="mod">
          <ac:chgData name="Alexis Ramirez" userId="a7c81f6c-ff5e-4a39-b2c7-6de722d1b62c" providerId="ADAL" clId="{CCA05BC4-E4A3-4B78-9B1C-7909B82CC38B}" dt="2025-03-04T02:28:48.019" v="497" actId="1076"/>
          <ac:picMkLst>
            <pc:docMk/>
            <pc:sldMk cId="1558569887" sldId="2147480822"/>
            <ac:picMk id="1443" creationId="{BD9DBFA3-A1CC-B080-35C6-C400E69D5CE6}"/>
          </ac:picMkLst>
        </pc:picChg>
        <pc:picChg chg="mod">
          <ac:chgData name="Alexis Ramirez" userId="a7c81f6c-ff5e-4a39-b2c7-6de722d1b62c" providerId="ADAL" clId="{CCA05BC4-E4A3-4B78-9B1C-7909B82CC38B}" dt="2025-03-04T02:35:07.778" v="559" actId="1076"/>
          <ac:picMkLst>
            <pc:docMk/>
            <pc:sldMk cId="1558569887" sldId="2147480822"/>
            <ac:picMk id="1472" creationId="{20D3E477-413D-E5CE-8C70-5FDEB0867217}"/>
          </ac:picMkLst>
        </pc:picChg>
        <pc:picChg chg="mod">
          <ac:chgData name="Alexis Ramirez" userId="a7c81f6c-ff5e-4a39-b2c7-6de722d1b62c" providerId="ADAL" clId="{CCA05BC4-E4A3-4B78-9B1C-7909B82CC38B}" dt="2025-03-04T02:35:10.394" v="560" actId="1076"/>
          <ac:picMkLst>
            <pc:docMk/>
            <pc:sldMk cId="1558569887" sldId="2147480822"/>
            <ac:picMk id="1473" creationId="{A09F6CA8-ED46-93CC-862A-060994562B3D}"/>
          </ac:picMkLst>
        </pc:picChg>
        <pc:picChg chg="mod">
          <ac:chgData name="Alexis Ramirez" userId="a7c81f6c-ff5e-4a39-b2c7-6de722d1b62c" providerId="ADAL" clId="{CCA05BC4-E4A3-4B78-9B1C-7909B82CC38B}" dt="2025-03-04T02:36:23.242" v="564" actId="1076"/>
          <ac:picMkLst>
            <pc:docMk/>
            <pc:sldMk cId="1558569887" sldId="2147480822"/>
            <ac:picMk id="1474" creationId="{B756D7C5-8C48-8D66-D652-A726BBB0E9EF}"/>
          </ac:picMkLst>
        </pc:picChg>
        <pc:picChg chg="del mod">
          <ac:chgData name="Alexis Ramirez" userId="a7c81f6c-ff5e-4a39-b2c7-6de722d1b62c" providerId="ADAL" clId="{CCA05BC4-E4A3-4B78-9B1C-7909B82CC38B}" dt="2025-03-04T03:09:36.894" v="760" actId="478"/>
          <ac:picMkLst>
            <pc:docMk/>
            <pc:sldMk cId="1558569887" sldId="2147480822"/>
            <ac:picMk id="1478" creationId="{70B4DB62-93CA-4E4C-AC1A-E93CE85E15E6}"/>
          </ac:picMkLst>
        </pc:picChg>
        <pc:picChg chg="mod">
          <ac:chgData name="Alexis Ramirez" userId="a7c81f6c-ff5e-4a39-b2c7-6de722d1b62c" providerId="ADAL" clId="{CCA05BC4-E4A3-4B78-9B1C-7909B82CC38B}" dt="2025-03-04T02:35:18.787" v="562" actId="1076"/>
          <ac:picMkLst>
            <pc:docMk/>
            <pc:sldMk cId="1558569887" sldId="2147480822"/>
            <ac:picMk id="1483" creationId="{75D7FF61-4C1A-044A-9019-14B28CD96B82}"/>
          </ac:picMkLst>
        </pc:picChg>
        <pc:picChg chg="mod">
          <ac:chgData name="Alexis Ramirez" userId="a7c81f6c-ff5e-4a39-b2c7-6de722d1b62c" providerId="ADAL" clId="{CCA05BC4-E4A3-4B78-9B1C-7909B82CC38B}" dt="2025-03-04T02:35:18.787" v="562" actId="1076"/>
          <ac:picMkLst>
            <pc:docMk/>
            <pc:sldMk cId="1558569887" sldId="2147480822"/>
            <ac:picMk id="1484" creationId="{62C1BF0A-5F5C-A103-2835-49E6E0FA0827}"/>
          </ac:picMkLst>
        </pc:picChg>
        <pc:picChg chg="mod">
          <ac:chgData name="Alexis Ramirez" userId="a7c81f6c-ff5e-4a39-b2c7-6de722d1b62c" providerId="ADAL" clId="{CCA05BC4-E4A3-4B78-9B1C-7909B82CC38B}" dt="2025-03-04T02:35:18.787" v="562" actId="1076"/>
          <ac:picMkLst>
            <pc:docMk/>
            <pc:sldMk cId="1558569887" sldId="2147480822"/>
            <ac:picMk id="1485" creationId="{3AC1BF5F-F089-1414-00D7-EA12912BCA6A}"/>
          </ac:picMkLst>
        </pc:picChg>
        <pc:picChg chg="del">
          <ac:chgData name="Alexis Ramirez" userId="a7c81f6c-ff5e-4a39-b2c7-6de722d1b62c" providerId="ADAL" clId="{CCA05BC4-E4A3-4B78-9B1C-7909B82CC38B}" dt="2025-03-04T03:09:57.636" v="765" actId="478"/>
          <ac:picMkLst>
            <pc:docMk/>
            <pc:sldMk cId="1558569887" sldId="2147480822"/>
            <ac:picMk id="1502" creationId="{DA0ACC8F-96B8-1169-4DCB-D8C97AFAC0FC}"/>
          </ac:picMkLst>
        </pc:picChg>
        <pc:cxnChg chg="mod">
          <ac:chgData name="Alexis Ramirez" userId="a7c81f6c-ff5e-4a39-b2c7-6de722d1b62c" providerId="ADAL" clId="{CCA05BC4-E4A3-4B78-9B1C-7909B82CC38B}" dt="2025-03-04T02:49:26.676" v="642" actId="208"/>
          <ac:cxnSpMkLst>
            <pc:docMk/>
            <pc:sldMk cId="1558569887" sldId="2147480822"/>
            <ac:cxnSpMk id="1516" creationId="{ED1D9886-E60A-5858-7C71-4DB59621B4D6}"/>
          </ac:cxnSpMkLst>
        </pc:cxnChg>
        <pc:cxnChg chg="mod">
          <ac:chgData name="Alexis Ramirez" userId="a7c81f6c-ff5e-4a39-b2c7-6de722d1b62c" providerId="ADAL" clId="{CCA05BC4-E4A3-4B78-9B1C-7909B82CC38B}" dt="2025-03-04T02:49:26.676" v="642" actId="208"/>
          <ac:cxnSpMkLst>
            <pc:docMk/>
            <pc:sldMk cId="1558569887" sldId="2147480822"/>
            <ac:cxnSpMk id="1518" creationId="{35481958-4DC6-C55B-CFFD-2FE86050F7FB}"/>
          </ac:cxnSpMkLst>
        </pc:cxnChg>
      </pc:sldChg>
      <pc:sldChg chg="addSp delSp modSp add mod setBg">
        <pc:chgData name="Alexis Ramirez" userId="a7c81f6c-ff5e-4a39-b2c7-6de722d1b62c" providerId="ADAL" clId="{CCA05BC4-E4A3-4B78-9B1C-7909B82CC38B}" dt="2025-03-04T03:39:17.583" v="872" actId="207"/>
        <pc:sldMkLst>
          <pc:docMk/>
          <pc:sldMk cId="62157406" sldId="2147480823"/>
        </pc:sldMkLst>
        <pc:spChg chg="del">
          <ac:chgData name="Alexis Ramirez" userId="a7c81f6c-ff5e-4a39-b2c7-6de722d1b62c" providerId="ADAL" clId="{CCA05BC4-E4A3-4B78-9B1C-7909B82CC38B}" dt="2025-03-04T01:19:28.828" v="17" actId="478"/>
          <ac:spMkLst>
            <pc:docMk/>
            <pc:sldMk cId="62157406" sldId="2147480823"/>
            <ac:spMk id="2" creationId="{37430B59-4212-B297-47D1-EC997706874F}"/>
          </ac:spMkLst>
        </pc:spChg>
        <pc:spChg chg="mod">
          <ac:chgData name="Alexis Ramirez" userId="a7c81f6c-ff5e-4a39-b2c7-6de722d1b62c" providerId="ADAL" clId="{CCA05BC4-E4A3-4B78-9B1C-7909B82CC38B}" dt="2025-03-04T03:39:17.583" v="872" actId="207"/>
          <ac:spMkLst>
            <pc:docMk/>
            <pc:sldMk cId="62157406" sldId="2147480823"/>
            <ac:spMk id="4" creationId="{500E86EF-F33F-7446-3BBC-329AFEAAD34E}"/>
          </ac:spMkLst>
        </pc:spChg>
        <pc:spChg chg="mod">
          <ac:chgData name="Alexis Ramirez" userId="a7c81f6c-ff5e-4a39-b2c7-6de722d1b62c" providerId="ADAL" clId="{CCA05BC4-E4A3-4B78-9B1C-7909B82CC38B}" dt="2025-03-04T03:16:43.222" v="779" actId="1076"/>
          <ac:spMkLst>
            <pc:docMk/>
            <pc:sldMk cId="62157406" sldId="2147480823"/>
            <ac:spMk id="5" creationId="{11AE0E9F-A35E-3D9E-13B2-691796480E7C}"/>
          </ac:spMkLst>
        </pc:spChg>
        <pc:spChg chg="del">
          <ac:chgData name="Alexis Ramirez" userId="a7c81f6c-ff5e-4a39-b2c7-6de722d1b62c" providerId="ADAL" clId="{CCA05BC4-E4A3-4B78-9B1C-7909B82CC38B}" dt="2025-03-04T01:19:28.828" v="17" actId="478"/>
          <ac:spMkLst>
            <pc:docMk/>
            <pc:sldMk cId="62157406" sldId="2147480823"/>
            <ac:spMk id="6" creationId="{00977F69-ECD3-8FB8-84E9-D9B58E018B5F}"/>
          </ac:spMkLst>
        </pc:spChg>
        <pc:spChg chg="add del mod">
          <ac:chgData name="Alexis Ramirez" userId="a7c81f6c-ff5e-4a39-b2c7-6de722d1b62c" providerId="ADAL" clId="{CCA05BC4-E4A3-4B78-9B1C-7909B82CC38B}" dt="2025-03-04T02:06:01.999" v="399" actId="478"/>
          <ac:spMkLst>
            <pc:docMk/>
            <pc:sldMk cId="62157406" sldId="2147480823"/>
            <ac:spMk id="10" creationId="{19D528A2-5B9E-E284-E9B9-AEAEC7DB4AC1}"/>
          </ac:spMkLst>
        </pc:spChg>
        <pc:spChg chg="mod">
          <ac:chgData name="Alexis Ramirez" userId="a7c81f6c-ff5e-4a39-b2c7-6de722d1b62c" providerId="ADAL" clId="{CCA05BC4-E4A3-4B78-9B1C-7909B82CC38B}" dt="2025-03-04T03:32:37.535" v="841" actId="207"/>
          <ac:spMkLst>
            <pc:docMk/>
            <pc:sldMk cId="62157406" sldId="2147480823"/>
            <ac:spMk id="10" creationId="{201D99EC-0AE3-9964-57DD-B38E086EAD4B}"/>
          </ac:spMkLst>
        </pc:spChg>
        <pc:spChg chg="mod">
          <ac:chgData name="Alexis Ramirez" userId="a7c81f6c-ff5e-4a39-b2c7-6de722d1b62c" providerId="ADAL" clId="{CCA05BC4-E4A3-4B78-9B1C-7909B82CC38B}" dt="2025-03-04T03:37:16.851" v="858" actId="1076"/>
          <ac:spMkLst>
            <pc:docMk/>
            <pc:sldMk cId="62157406" sldId="2147480823"/>
            <ac:spMk id="11" creationId="{50EB200D-B56F-BCD3-DC4B-EF3D164CA970}"/>
          </ac:spMkLst>
        </pc:spChg>
        <pc:spChg chg="add del mod">
          <ac:chgData name="Alexis Ramirez" userId="a7c81f6c-ff5e-4a39-b2c7-6de722d1b62c" providerId="ADAL" clId="{CCA05BC4-E4A3-4B78-9B1C-7909B82CC38B}" dt="2025-03-04T02:06:03.056" v="400" actId="478"/>
          <ac:spMkLst>
            <pc:docMk/>
            <pc:sldMk cId="62157406" sldId="2147480823"/>
            <ac:spMk id="12" creationId="{F8E311F8-A02D-88FB-85CB-4A3A982FC732}"/>
          </ac:spMkLst>
        </pc:spChg>
        <pc:spChg chg="mod">
          <ac:chgData name="Alexis Ramirez" userId="a7c81f6c-ff5e-4a39-b2c7-6de722d1b62c" providerId="ADAL" clId="{CCA05BC4-E4A3-4B78-9B1C-7909B82CC38B}" dt="2025-03-04T03:37:02.294" v="856" actId="120"/>
          <ac:spMkLst>
            <pc:docMk/>
            <pc:sldMk cId="62157406" sldId="2147480823"/>
            <ac:spMk id="19" creationId="{2109D166-C8C4-A9EB-FE87-79CF366EEB66}"/>
          </ac:spMkLst>
        </pc:spChg>
        <pc:spChg chg="mod">
          <ac:chgData name="Alexis Ramirez" userId="a7c81f6c-ff5e-4a39-b2c7-6de722d1b62c" providerId="ADAL" clId="{CCA05BC4-E4A3-4B78-9B1C-7909B82CC38B}" dt="2025-03-04T03:37:09.330" v="857" actId="1076"/>
          <ac:spMkLst>
            <pc:docMk/>
            <pc:sldMk cId="62157406" sldId="2147480823"/>
            <ac:spMk id="20" creationId="{791E4AF8-F559-35B7-F836-BEBB372BB2F6}"/>
          </ac:spMkLst>
        </pc:spChg>
        <pc:spChg chg="mod">
          <ac:chgData name="Alexis Ramirez" userId="a7c81f6c-ff5e-4a39-b2c7-6de722d1b62c" providerId="ADAL" clId="{CCA05BC4-E4A3-4B78-9B1C-7909B82CC38B}" dt="2025-03-04T03:36:02.051" v="849" actId="1076"/>
          <ac:spMkLst>
            <pc:docMk/>
            <pc:sldMk cId="62157406" sldId="2147480823"/>
            <ac:spMk id="38" creationId="{E045C2DB-ADEA-6A44-213A-2B23658A426A}"/>
          </ac:spMkLst>
        </pc:spChg>
        <pc:spChg chg="del">
          <ac:chgData name="Alexis Ramirez" userId="a7c81f6c-ff5e-4a39-b2c7-6de722d1b62c" providerId="ADAL" clId="{CCA05BC4-E4A3-4B78-9B1C-7909B82CC38B}" dt="2025-03-04T01:19:26.060" v="15" actId="478"/>
          <ac:spMkLst>
            <pc:docMk/>
            <pc:sldMk cId="62157406" sldId="2147480823"/>
            <ac:spMk id="44" creationId="{F4E9BE1D-FDDB-D261-3732-B1E0A039648A}"/>
          </ac:spMkLst>
        </pc:spChg>
        <pc:spChg chg="del mod">
          <ac:chgData name="Alexis Ramirez" userId="a7c81f6c-ff5e-4a39-b2c7-6de722d1b62c" providerId="ADAL" clId="{CCA05BC4-E4A3-4B78-9B1C-7909B82CC38B}" dt="2025-03-04T01:19:28.828" v="17" actId="478"/>
          <ac:spMkLst>
            <pc:docMk/>
            <pc:sldMk cId="62157406" sldId="2147480823"/>
            <ac:spMk id="61" creationId="{E874FD60-B59D-2FD0-A395-4E234BED63D4}"/>
          </ac:spMkLst>
        </pc:spChg>
        <pc:spChg chg="mod">
          <ac:chgData name="Alexis Ramirez" userId="a7c81f6c-ff5e-4a39-b2c7-6de722d1b62c" providerId="ADAL" clId="{CCA05BC4-E4A3-4B78-9B1C-7909B82CC38B}" dt="2025-03-04T02:05:51.559" v="395" actId="14100"/>
          <ac:spMkLst>
            <pc:docMk/>
            <pc:sldMk cId="62157406" sldId="2147480823"/>
            <ac:spMk id="63" creationId="{E666FEED-A71C-6BF1-456D-E30B86FF9920}"/>
          </ac:spMkLst>
        </pc:spChg>
        <pc:spChg chg="del">
          <ac:chgData name="Alexis Ramirez" userId="a7c81f6c-ff5e-4a39-b2c7-6de722d1b62c" providerId="ADAL" clId="{CCA05BC4-E4A3-4B78-9B1C-7909B82CC38B}" dt="2025-03-04T01:19:28.828" v="17" actId="478"/>
          <ac:spMkLst>
            <pc:docMk/>
            <pc:sldMk cId="62157406" sldId="2147480823"/>
            <ac:spMk id="1345" creationId="{77045EB1-F8FE-0EA8-3FFA-791859DDA2B2}"/>
          </ac:spMkLst>
        </pc:spChg>
        <pc:spChg chg="del">
          <ac:chgData name="Alexis Ramirez" userId="a7c81f6c-ff5e-4a39-b2c7-6de722d1b62c" providerId="ADAL" clId="{CCA05BC4-E4A3-4B78-9B1C-7909B82CC38B}" dt="2025-03-04T01:19:28.828" v="17" actId="478"/>
          <ac:spMkLst>
            <pc:docMk/>
            <pc:sldMk cId="62157406" sldId="2147480823"/>
            <ac:spMk id="1347" creationId="{0929A3B2-3208-BD46-7250-093FD3ACB76D}"/>
          </ac:spMkLst>
        </pc:spChg>
        <pc:spChg chg="del">
          <ac:chgData name="Alexis Ramirez" userId="a7c81f6c-ff5e-4a39-b2c7-6de722d1b62c" providerId="ADAL" clId="{CCA05BC4-E4A3-4B78-9B1C-7909B82CC38B}" dt="2025-03-04T01:19:28.828" v="17" actId="478"/>
          <ac:spMkLst>
            <pc:docMk/>
            <pc:sldMk cId="62157406" sldId="2147480823"/>
            <ac:spMk id="1350" creationId="{86BB729E-AE4C-8CAE-A3DC-836860CD7A2C}"/>
          </ac:spMkLst>
        </pc:spChg>
        <pc:spChg chg="mod">
          <ac:chgData name="Alexis Ramirez" userId="a7c81f6c-ff5e-4a39-b2c7-6de722d1b62c" providerId="ADAL" clId="{CCA05BC4-E4A3-4B78-9B1C-7909B82CC38B}" dt="2025-03-04T02:06:00.454" v="398" actId="14100"/>
          <ac:spMkLst>
            <pc:docMk/>
            <pc:sldMk cId="62157406" sldId="2147480823"/>
            <ac:spMk id="1351" creationId="{39752A2D-04A5-05DC-87F4-F74D5AF5C5B9}"/>
          </ac:spMkLst>
        </pc:spChg>
        <pc:spChg chg="del">
          <ac:chgData name="Alexis Ramirez" userId="a7c81f6c-ff5e-4a39-b2c7-6de722d1b62c" providerId="ADAL" clId="{CCA05BC4-E4A3-4B78-9B1C-7909B82CC38B}" dt="2025-03-04T01:19:28.828" v="17" actId="478"/>
          <ac:spMkLst>
            <pc:docMk/>
            <pc:sldMk cId="62157406" sldId="2147480823"/>
            <ac:spMk id="1352" creationId="{40C8FC3B-8F21-B88B-506B-4AFCF2F73A1C}"/>
          </ac:spMkLst>
        </pc:spChg>
        <pc:spChg chg="del">
          <ac:chgData name="Alexis Ramirez" userId="a7c81f6c-ff5e-4a39-b2c7-6de722d1b62c" providerId="ADAL" clId="{CCA05BC4-E4A3-4B78-9B1C-7909B82CC38B}" dt="2025-03-04T01:19:28.828" v="17" actId="478"/>
          <ac:spMkLst>
            <pc:docMk/>
            <pc:sldMk cId="62157406" sldId="2147480823"/>
            <ac:spMk id="1354" creationId="{5B51C10F-3395-67AA-44B2-64255E9B8637}"/>
          </ac:spMkLst>
        </pc:spChg>
        <pc:spChg chg="del">
          <ac:chgData name="Alexis Ramirez" userId="a7c81f6c-ff5e-4a39-b2c7-6de722d1b62c" providerId="ADAL" clId="{CCA05BC4-E4A3-4B78-9B1C-7909B82CC38B}" dt="2025-03-04T01:19:28.828" v="17" actId="478"/>
          <ac:spMkLst>
            <pc:docMk/>
            <pc:sldMk cId="62157406" sldId="2147480823"/>
            <ac:spMk id="1356" creationId="{60910F4D-FC3D-D607-BDED-BE49D838AEEB}"/>
          </ac:spMkLst>
        </pc:spChg>
        <pc:spChg chg="del">
          <ac:chgData name="Alexis Ramirez" userId="a7c81f6c-ff5e-4a39-b2c7-6de722d1b62c" providerId="ADAL" clId="{CCA05BC4-E4A3-4B78-9B1C-7909B82CC38B}" dt="2025-03-04T01:19:28.828" v="17" actId="478"/>
          <ac:spMkLst>
            <pc:docMk/>
            <pc:sldMk cId="62157406" sldId="2147480823"/>
            <ac:spMk id="1357" creationId="{BD2AA16E-8EA9-F1D9-D9DE-8652F9079A01}"/>
          </ac:spMkLst>
        </pc:spChg>
        <pc:spChg chg="del">
          <ac:chgData name="Alexis Ramirez" userId="a7c81f6c-ff5e-4a39-b2c7-6de722d1b62c" providerId="ADAL" clId="{CCA05BC4-E4A3-4B78-9B1C-7909B82CC38B}" dt="2025-03-04T03:30:14.712" v="836" actId="478"/>
          <ac:spMkLst>
            <pc:docMk/>
            <pc:sldMk cId="62157406" sldId="2147480823"/>
            <ac:spMk id="1358" creationId="{2BF886F5-BCB9-E880-FAA3-0BA27A1ABAAA}"/>
          </ac:spMkLst>
        </pc:spChg>
        <pc:spChg chg="mod">
          <ac:chgData name="Alexis Ramirez" userId="a7c81f6c-ff5e-4a39-b2c7-6de722d1b62c" providerId="ADAL" clId="{CCA05BC4-E4A3-4B78-9B1C-7909B82CC38B}" dt="2025-03-04T03:30:11.406" v="835" actId="208"/>
          <ac:spMkLst>
            <pc:docMk/>
            <pc:sldMk cId="62157406" sldId="2147480823"/>
            <ac:spMk id="1359" creationId="{BBA43BEA-BE3F-67B3-86F1-1CE390789693}"/>
          </ac:spMkLst>
        </pc:spChg>
        <pc:spChg chg="mod">
          <ac:chgData name="Alexis Ramirez" userId="a7c81f6c-ff5e-4a39-b2c7-6de722d1b62c" providerId="ADAL" clId="{CCA05BC4-E4A3-4B78-9B1C-7909B82CC38B}" dt="2025-03-04T03:30:02.221" v="833" actId="207"/>
          <ac:spMkLst>
            <pc:docMk/>
            <pc:sldMk cId="62157406" sldId="2147480823"/>
            <ac:spMk id="1360" creationId="{9337CE84-FE0B-B177-D401-92A1BBEF6AE9}"/>
          </ac:spMkLst>
        </pc:spChg>
        <pc:spChg chg="mod">
          <ac:chgData name="Alexis Ramirez" userId="a7c81f6c-ff5e-4a39-b2c7-6de722d1b62c" providerId="ADAL" clId="{CCA05BC4-E4A3-4B78-9B1C-7909B82CC38B}" dt="2025-03-04T03:30:04.775" v="834" actId="207"/>
          <ac:spMkLst>
            <pc:docMk/>
            <pc:sldMk cId="62157406" sldId="2147480823"/>
            <ac:spMk id="1361" creationId="{C4E0A768-6DC1-B5A2-B894-7E5220981FE3}"/>
          </ac:spMkLst>
        </pc:spChg>
        <pc:spChg chg="mod">
          <ac:chgData name="Alexis Ramirez" userId="a7c81f6c-ff5e-4a39-b2c7-6de722d1b62c" providerId="ADAL" clId="{CCA05BC4-E4A3-4B78-9B1C-7909B82CC38B}" dt="2025-03-04T03:29:47.334" v="830" actId="208"/>
          <ac:spMkLst>
            <pc:docMk/>
            <pc:sldMk cId="62157406" sldId="2147480823"/>
            <ac:spMk id="1367" creationId="{8623176E-C224-5BAF-6C66-332C06ABF8E1}"/>
          </ac:spMkLst>
        </pc:spChg>
        <pc:spChg chg="mod">
          <ac:chgData name="Alexis Ramirez" userId="a7c81f6c-ff5e-4a39-b2c7-6de722d1b62c" providerId="ADAL" clId="{CCA05BC4-E4A3-4B78-9B1C-7909B82CC38B}" dt="2025-03-04T03:29:39.653" v="828" actId="207"/>
          <ac:spMkLst>
            <pc:docMk/>
            <pc:sldMk cId="62157406" sldId="2147480823"/>
            <ac:spMk id="1368" creationId="{A81EBAD7-F83D-C031-7F60-7A2E197EDBC6}"/>
          </ac:spMkLst>
        </pc:spChg>
        <pc:spChg chg="mod">
          <ac:chgData name="Alexis Ramirez" userId="a7c81f6c-ff5e-4a39-b2c7-6de722d1b62c" providerId="ADAL" clId="{CCA05BC4-E4A3-4B78-9B1C-7909B82CC38B}" dt="2025-03-04T03:29:42.597" v="829" actId="207"/>
          <ac:spMkLst>
            <pc:docMk/>
            <pc:sldMk cId="62157406" sldId="2147480823"/>
            <ac:spMk id="1369" creationId="{AEC344AE-311C-2DFF-C434-8E7761649EE2}"/>
          </ac:spMkLst>
        </pc:spChg>
        <pc:spChg chg="mod">
          <ac:chgData name="Alexis Ramirez" userId="a7c81f6c-ff5e-4a39-b2c7-6de722d1b62c" providerId="ADAL" clId="{CCA05BC4-E4A3-4B78-9B1C-7909B82CC38B}" dt="2025-03-04T03:28:48.438" v="822" actId="208"/>
          <ac:spMkLst>
            <pc:docMk/>
            <pc:sldMk cId="62157406" sldId="2147480823"/>
            <ac:spMk id="1371" creationId="{F4F4138C-5117-C0F5-1DDF-4CFA9D620ED1}"/>
          </ac:spMkLst>
        </pc:spChg>
        <pc:spChg chg="mod">
          <ac:chgData name="Alexis Ramirez" userId="a7c81f6c-ff5e-4a39-b2c7-6de722d1b62c" providerId="ADAL" clId="{CCA05BC4-E4A3-4B78-9B1C-7909B82CC38B}" dt="2025-03-04T03:28:31.847" v="820" actId="207"/>
          <ac:spMkLst>
            <pc:docMk/>
            <pc:sldMk cId="62157406" sldId="2147480823"/>
            <ac:spMk id="1372" creationId="{28836612-D83B-FFD1-AD4F-9533188F01CE}"/>
          </ac:spMkLst>
        </pc:spChg>
        <pc:spChg chg="mod">
          <ac:chgData name="Alexis Ramirez" userId="a7c81f6c-ff5e-4a39-b2c7-6de722d1b62c" providerId="ADAL" clId="{CCA05BC4-E4A3-4B78-9B1C-7909B82CC38B}" dt="2025-03-04T03:28:35.183" v="821" actId="207"/>
          <ac:spMkLst>
            <pc:docMk/>
            <pc:sldMk cId="62157406" sldId="2147480823"/>
            <ac:spMk id="1373" creationId="{FB96DBE8-673F-8F6E-743C-96C395E22294}"/>
          </ac:spMkLst>
        </pc:spChg>
        <pc:spChg chg="mod">
          <ac:chgData name="Alexis Ramirez" userId="a7c81f6c-ff5e-4a39-b2c7-6de722d1b62c" providerId="ADAL" clId="{CCA05BC4-E4A3-4B78-9B1C-7909B82CC38B}" dt="2025-03-04T02:03:17.632" v="375" actId="207"/>
          <ac:spMkLst>
            <pc:docMk/>
            <pc:sldMk cId="62157406" sldId="2147480823"/>
            <ac:spMk id="1377" creationId="{7B4208F8-2C1C-731B-B2B6-ED8E7BF8CE6E}"/>
          </ac:spMkLst>
        </pc:spChg>
        <pc:spChg chg="mod">
          <ac:chgData name="Alexis Ramirez" userId="a7c81f6c-ff5e-4a39-b2c7-6de722d1b62c" providerId="ADAL" clId="{CCA05BC4-E4A3-4B78-9B1C-7909B82CC38B}" dt="2025-03-04T02:03:20.695" v="376" actId="207"/>
          <ac:spMkLst>
            <pc:docMk/>
            <pc:sldMk cId="62157406" sldId="2147480823"/>
            <ac:spMk id="1537" creationId="{5E0FF2C4-13CA-56EE-7990-242EF520DA63}"/>
          </ac:spMkLst>
        </pc:spChg>
        <pc:grpChg chg="add mod">
          <ac:chgData name="Alexis Ramirez" userId="a7c81f6c-ff5e-4a39-b2c7-6de722d1b62c" providerId="ADAL" clId="{CCA05BC4-E4A3-4B78-9B1C-7909B82CC38B}" dt="2025-03-04T03:27:11.447" v="816" actId="207"/>
          <ac:grpSpMkLst>
            <pc:docMk/>
            <pc:sldMk cId="62157406" sldId="2147480823"/>
            <ac:grpSpMk id="2" creationId="{2B763869-1C23-9592-8AB8-E66B14E59A16}"/>
          </ac:grpSpMkLst>
        </pc:grpChg>
        <pc:grpChg chg="add mod">
          <ac:chgData name="Alexis Ramirez" userId="a7c81f6c-ff5e-4a39-b2c7-6de722d1b62c" providerId="ADAL" clId="{CCA05BC4-E4A3-4B78-9B1C-7909B82CC38B}" dt="2025-03-04T02:06:28.303" v="402" actId="1076"/>
          <ac:grpSpMkLst>
            <pc:docMk/>
            <pc:sldMk cId="62157406" sldId="2147480823"/>
            <ac:grpSpMk id="7" creationId="{AD50CCB3-E244-3C65-7609-2FD92347445B}"/>
          </ac:grpSpMkLst>
        </pc:grpChg>
        <pc:grpChg chg="add mod">
          <ac:chgData name="Alexis Ramirez" userId="a7c81f6c-ff5e-4a39-b2c7-6de722d1b62c" providerId="ADAL" clId="{CCA05BC4-E4A3-4B78-9B1C-7909B82CC38B}" dt="2025-03-04T02:06:28.303" v="402" actId="1076"/>
          <ac:grpSpMkLst>
            <pc:docMk/>
            <pc:sldMk cId="62157406" sldId="2147480823"/>
            <ac:grpSpMk id="8" creationId="{7A4A42A8-24E3-146D-AAA0-15538238B60C}"/>
          </ac:grpSpMkLst>
        </pc:grpChg>
        <pc:grpChg chg="del">
          <ac:chgData name="Alexis Ramirez" userId="a7c81f6c-ff5e-4a39-b2c7-6de722d1b62c" providerId="ADAL" clId="{CCA05BC4-E4A3-4B78-9B1C-7909B82CC38B}" dt="2025-03-04T01:19:21.932" v="12" actId="478"/>
          <ac:grpSpMkLst>
            <pc:docMk/>
            <pc:sldMk cId="62157406" sldId="2147480823"/>
            <ac:grpSpMk id="1344" creationId="{6B1F72F5-DC70-4242-3215-96C2A176B9B5}"/>
          </ac:grpSpMkLst>
        </pc:grpChg>
        <pc:grpChg chg="mod">
          <ac:chgData name="Alexis Ramirez" userId="a7c81f6c-ff5e-4a39-b2c7-6de722d1b62c" providerId="ADAL" clId="{CCA05BC4-E4A3-4B78-9B1C-7909B82CC38B}" dt="2025-03-04T02:06:28.303" v="402" actId="1076"/>
          <ac:grpSpMkLst>
            <pc:docMk/>
            <pc:sldMk cId="62157406" sldId="2147480823"/>
            <ac:grpSpMk id="1375" creationId="{499C8496-C75A-4D4A-B810-7DA157A1C7A0}"/>
          </ac:grpSpMkLst>
        </pc:grpChg>
        <pc:grpChg chg="mod">
          <ac:chgData name="Alexis Ramirez" userId="a7c81f6c-ff5e-4a39-b2c7-6de722d1b62c" providerId="ADAL" clId="{CCA05BC4-E4A3-4B78-9B1C-7909B82CC38B}" dt="2025-03-04T02:06:28.303" v="402" actId="1076"/>
          <ac:grpSpMkLst>
            <pc:docMk/>
            <pc:sldMk cId="62157406" sldId="2147480823"/>
            <ac:grpSpMk id="1376" creationId="{46016381-A009-0C78-C934-AC230FBA016F}"/>
          </ac:grpSpMkLst>
        </pc:grpChg>
        <pc:picChg chg="mod">
          <ac:chgData name="Alexis Ramirez" userId="a7c81f6c-ff5e-4a39-b2c7-6de722d1b62c" providerId="ADAL" clId="{CCA05BC4-E4A3-4B78-9B1C-7909B82CC38B}" dt="2025-03-04T02:40:15.373" v="569" actId="2085"/>
          <ac:picMkLst>
            <pc:docMk/>
            <pc:sldMk cId="62157406" sldId="2147480823"/>
            <ac:picMk id="9" creationId="{B55EB77B-BD53-B7E4-BF3B-06F4BF1D1E37}"/>
          </ac:picMkLst>
        </pc:picChg>
        <pc:picChg chg="del">
          <ac:chgData name="Alexis Ramirez" userId="a7c81f6c-ff5e-4a39-b2c7-6de722d1b62c" providerId="ADAL" clId="{CCA05BC4-E4A3-4B78-9B1C-7909B82CC38B}" dt="2025-03-04T01:19:24.588" v="13" actId="478"/>
          <ac:picMkLst>
            <pc:docMk/>
            <pc:sldMk cId="62157406" sldId="2147480823"/>
            <ac:picMk id="10" creationId="{2BC52E87-AA14-A9B6-A300-0549B8997805}"/>
          </ac:picMkLst>
        </pc:picChg>
        <pc:picChg chg="mod">
          <ac:chgData name="Alexis Ramirez" userId="a7c81f6c-ff5e-4a39-b2c7-6de722d1b62c" providerId="ADAL" clId="{CCA05BC4-E4A3-4B78-9B1C-7909B82CC38B}" dt="2025-03-04T03:36:51.307" v="853" actId="14100"/>
          <ac:picMkLst>
            <pc:docMk/>
            <pc:sldMk cId="62157406" sldId="2147480823"/>
            <ac:picMk id="13" creationId="{DEC766F0-6931-82FB-99A9-190634E7ADA8}"/>
          </ac:picMkLst>
        </pc:picChg>
        <pc:picChg chg="add del mod">
          <ac:chgData name="Alexis Ramirez" userId="a7c81f6c-ff5e-4a39-b2c7-6de722d1b62c" providerId="ADAL" clId="{CCA05BC4-E4A3-4B78-9B1C-7909B82CC38B}" dt="2025-03-04T03:25:03.139" v="812" actId="29295"/>
          <ac:picMkLst>
            <pc:docMk/>
            <pc:sldMk cId="62157406" sldId="2147480823"/>
            <ac:picMk id="16" creationId="{E1DA341F-5D64-22D2-0207-8CDEC8428C86}"/>
          </ac:picMkLst>
        </pc:picChg>
        <pc:picChg chg="mod">
          <ac:chgData name="Alexis Ramirez" userId="a7c81f6c-ff5e-4a39-b2c7-6de722d1b62c" providerId="ADAL" clId="{CCA05BC4-E4A3-4B78-9B1C-7909B82CC38B}" dt="2025-03-04T03:37:19.603" v="859" actId="14100"/>
          <ac:picMkLst>
            <pc:docMk/>
            <pc:sldMk cId="62157406" sldId="2147480823"/>
            <ac:picMk id="17" creationId="{8DFF5404-11C9-2E99-A63E-4D72FB04E7B0}"/>
          </ac:picMkLst>
        </pc:picChg>
        <pc:picChg chg="mod">
          <ac:chgData name="Alexis Ramirez" userId="a7c81f6c-ff5e-4a39-b2c7-6de722d1b62c" providerId="ADAL" clId="{CCA05BC4-E4A3-4B78-9B1C-7909B82CC38B}" dt="2025-03-04T03:37:23.187" v="862" actId="14100"/>
          <ac:picMkLst>
            <pc:docMk/>
            <pc:sldMk cId="62157406" sldId="2147480823"/>
            <ac:picMk id="18" creationId="{BE42CBD6-B740-509F-FEAA-4CB38C6DBE11}"/>
          </ac:picMkLst>
        </pc:picChg>
        <pc:picChg chg="del">
          <ac:chgData name="Alexis Ramirez" userId="a7c81f6c-ff5e-4a39-b2c7-6de722d1b62c" providerId="ADAL" clId="{CCA05BC4-E4A3-4B78-9B1C-7909B82CC38B}" dt="2025-03-04T01:19:25.316" v="14" actId="478"/>
          <ac:picMkLst>
            <pc:docMk/>
            <pc:sldMk cId="62157406" sldId="2147480823"/>
            <ac:picMk id="18" creationId="{C955B801-1782-6151-9D66-C9EFFB240AB9}"/>
          </ac:picMkLst>
        </pc:picChg>
        <pc:picChg chg="mod">
          <ac:chgData name="Alexis Ramirez" userId="a7c81f6c-ff5e-4a39-b2c7-6de722d1b62c" providerId="ADAL" clId="{CCA05BC4-E4A3-4B78-9B1C-7909B82CC38B}" dt="2025-03-04T03:35:52.763" v="847" actId="14100"/>
          <ac:picMkLst>
            <pc:docMk/>
            <pc:sldMk cId="62157406" sldId="2147480823"/>
            <ac:picMk id="23" creationId="{09615499-094F-4AFA-3BAF-B5621BBF88D5}"/>
          </ac:picMkLst>
        </pc:picChg>
        <pc:picChg chg="add mod">
          <ac:chgData name="Alexis Ramirez" userId="a7c81f6c-ff5e-4a39-b2c7-6de722d1b62c" providerId="ADAL" clId="{CCA05BC4-E4A3-4B78-9B1C-7909B82CC38B}" dt="2025-03-04T03:06:49.046" v="746" actId="1076"/>
          <ac:picMkLst>
            <pc:docMk/>
            <pc:sldMk cId="62157406" sldId="2147480823"/>
            <ac:picMk id="23" creationId="{88CEAE30-8A5D-3D67-9B3A-207D6A1DF861}"/>
          </ac:picMkLst>
        </pc:picChg>
        <pc:picChg chg="del">
          <ac:chgData name="Alexis Ramirez" userId="a7c81f6c-ff5e-4a39-b2c7-6de722d1b62c" providerId="ADAL" clId="{CCA05BC4-E4A3-4B78-9B1C-7909B82CC38B}" dt="2025-03-04T01:19:19.421" v="11" actId="478"/>
          <ac:picMkLst>
            <pc:docMk/>
            <pc:sldMk cId="62157406" sldId="2147480823"/>
            <ac:picMk id="28" creationId="{FFE688A7-7DB4-71BD-C2DA-4317B0700FC0}"/>
          </ac:picMkLst>
        </pc:picChg>
        <pc:picChg chg="del mod">
          <ac:chgData name="Alexis Ramirez" userId="a7c81f6c-ff5e-4a39-b2c7-6de722d1b62c" providerId="ADAL" clId="{CCA05BC4-E4A3-4B78-9B1C-7909B82CC38B}" dt="2025-03-04T03:21:37.725" v="784" actId="478"/>
          <ac:picMkLst>
            <pc:docMk/>
            <pc:sldMk cId="62157406" sldId="2147480823"/>
            <ac:picMk id="34" creationId="{86071A2B-FE91-40FB-C6E7-7A0497EF2589}"/>
          </ac:picMkLst>
        </pc:picChg>
        <pc:picChg chg="mod">
          <ac:chgData name="Alexis Ramirez" userId="a7c81f6c-ff5e-4a39-b2c7-6de722d1b62c" providerId="ADAL" clId="{CCA05BC4-E4A3-4B78-9B1C-7909B82CC38B}" dt="2025-03-04T02:40:21.185" v="570" actId="108"/>
          <ac:picMkLst>
            <pc:docMk/>
            <pc:sldMk cId="62157406" sldId="2147480823"/>
            <ac:picMk id="37" creationId="{C5709539-6F58-BD21-8D9F-A7CDC17AA367}"/>
          </ac:picMkLst>
        </pc:picChg>
        <pc:picChg chg="del">
          <ac:chgData name="Alexis Ramirez" userId="a7c81f6c-ff5e-4a39-b2c7-6de722d1b62c" providerId="ADAL" clId="{CCA05BC4-E4A3-4B78-9B1C-7909B82CC38B}" dt="2025-03-04T03:06:31.594" v="739" actId="478"/>
          <ac:picMkLst>
            <pc:docMk/>
            <pc:sldMk cId="62157406" sldId="2147480823"/>
            <ac:picMk id="53" creationId="{653E86EC-43AE-C424-85AA-D9A83943F621}"/>
          </ac:picMkLst>
        </pc:picChg>
        <pc:picChg chg="mod">
          <ac:chgData name="Alexis Ramirez" userId="a7c81f6c-ff5e-4a39-b2c7-6de722d1b62c" providerId="ADAL" clId="{CCA05BC4-E4A3-4B78-9B1C-7909B82CC38B}" dt="2025-03-04T03:37:27.642" v="863" actId="1076"/>
          <ac:picMkLst>
            <pc:docMk/>
            <pc:sldMk cId="62157406" sldId="2147480823"/>
            <ac:picMk id="54" creationId="{8B277D59-AC54-28FF-10B5-72B39CC52198}"/>
          </ac:picMkLst>
        </pc:picChg>
        <pc:picChg chg="mod">
          <ac:chgData name="Alexis Ramirez" userId="a7c81f6c-ff5e-4a39-b2c7-6de722d1b62c" providerId="ADAL" clId="{CCA05BC4-E4A3-4B78-9B1C-7909B82CC38B}" dt="2025-03-04T03:37:34.667" v="864" actId="1076"/>
          <ac:picMkLst>
            <pc:docMk/>
            <pc:sldMk cId="62157406" sldId="2147480823"/>
            <ac:picMk id="57" creationId="{A862DFE5-2E7D-CED0-B2D6-0FCCAE975598}"/>
          </ac:picMkLst>
        </pc:picChg>
        <pc:picChg chg="mod">
          <ac:chgData name="Alexis Ramirez" userId="a7c81f6c-ff5e-4a39-b2c7-6de722d1b62c" providerId="ADAL" clId="{CCA05BC4-E4A3-4B78-9B1C-7909B82CC38B}" dt="2025-03-04T02:03:06.992" v="374" actId="207"/>
          <ac:picMkLst>
            <pc:docMk/>
            <pc:sldMk cId="62157406" sldId="2147480823"/>
            <ac:picMk id="1378" creationId="{7E4054A9-05BC-0537-5A3E-3029C33A78F1}"/>
          </ac:picMkLst>
        </pc:picChg>
        <pc:picChg chg="mod">
          <ac:chgData name="Alexis Ramirez" userId="a7c81f6c-ff5e-4a39-b2c7-6de722d1b62c" providerId="ADAL" clId="{CCA05BC4-E4A3-4B78-9B1C-7909B82CC38B}" dt="2025-03-04T02:03:02.669" v="373" actId="207"/>
          <ac:picMkLst>
            <pc:docMk/>
            <pc:sldMk cId="62157406" sldId="2147480823"/>
            <ac:picMk id="1556" creationId="{49915F7E-6F8B-F225-55C4-CBD1C36D3026}"/>
          </ac:picMkLst>
        </pc:picChg>
      </pc:sldChg>
      <pc:sldChg chg="add del">
        <pc:chgData name="Alexis Ramirez" userId="a7c81f6c-ff5e-4a39-b2c7-6de722d1b62c" providerId="ADAL" clId="{CCA05BC4-E4A3-4B78-9B1C-7909B82CC38B}" dt="2025-03-04T02:18:25.707" v="413" actId="47"/>
        <pc:sldMkLst>
          <pc:docMk/>
          <pc:sldMk cId="1612554937" sldId="214748082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6CE1C2-B0DC-6E14-2155-7F756039DC7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15DC285-B5B2-320D-7ECB-CEC2A4BCB6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626E80-B8D7-4BB6-B998-8907829773BC}" type="datetimeFigureOut">
              <a:rPr lang="en-US" smtClean="0"/>
              <a:t>3/13/2025</a:t>
            </a:fld>
            <a:endParaRPr lang="en-US"/>
          </a:p>
        </p:txBody>
      </p:sp>
      <p:sp>
        <p:nvSpPr>
          <p:cNvPr id="4" name="Footer Placeholder 3">
            <a:extLst>
              <a:ext uri="{FF2B5EF4-FFF2-40B4-BE49-F238E27FC236}">
                <a16:creationId xmlns:a16="http://schemas.microsoft.com/office/drawing/2014/main" id="{141EABEE-D593-9FC7-1ADF-83F0706A91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21525983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1D1DBE-4515-411F-8942-85256962C466}" type="datetimeFigureOut">
              <a:t>13/03/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0568F8-C327-44EB-BA19-A2D08DC18D0F}" type="slidenum">
              <a:t>‹Nº›</a:t>
            </a:fld>
            <a:endParaRPr lang="es-ES"/>
          </a:p>
        </p:txBody>
      </p:sp>
    </p:spTree>
    <p:extLst>
      <p:ext uri="{BB962C8B-B14F-4D97-AF65-F5344CB8AC3E}">
        <p14:creationId xmlns:p14="http://schemas.microsoft.com/office/powerpoint/2010/main" val="30917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a:p>
        </p:txBody>
      </p:sp>
      <p:sp>
        <p:nvSpPr>
          <p:cNvPr id="4" name="Marcador de número de diapositiva 3"/>
          <p:cNvSpPr>
            <a:spLocks noGrp="1"/>
          </p:cNvSpPr>
          <p:nvPr>
            <p:ph type="sldNum" sz="quarter" idx="5"/>
          </p:nvPr>
        </p:nvSpPr>
        <p:spPr/>
        <p:txBody>
          <a:bodyPr/>
          <a:lstStyle/>
          <a:p>
            <a:fld id="{C40568F8-C327-44EB-BA19-A2D08DC18D0F}" type="slidenum">
              <a:rPr lang="es-MX" smtClean="0"/>
              <a:t>1</a:t>
            </a:fld>
            <a:endParaRPr lang="es-MX"/>
          </a:p>
        </p:txBody>
      </p:sp>
    </p:spTree>
    <p:extLst>
      <p:ext uri="{BB962C8B-B14F-4D97-AF65-F5344CB8AC3E}">
        <p14:creationId xmlns:p14="http://schemas.microsoft.com/office/powerpoint/2010/main" val="3805605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26C35-1860-AD14-585C-9ECBE8097DC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7FF0BD1-5D8F-7DF4-5E6D-F81BA8191FF2}"/>
              </a:ext>
            </a:extLst>
          </p:cNvPr>
          <p:cNvSpPr>
            <a:spLocks noGrp="1" noRot="1" noChangeAspect="1"/>
          </p:cNvSpPr>
          <p:nvPr>
            <p:ph type="sldImg"/>
          </p:nvPr>
        </p:nvSpPr>
        <p:spPr>
          <a:xfrm>
            <a:off x="685800" y="1143000"/>
            <a:ext cx="5486400" cy="3086100"/>
          </a:xfrm>
        </p:spPr>
      </p:sp>
      <p:sp>
        <p:nvSpPr>
          <p:cNvPr id="3" name="Marcador de notas 2">
            <a:extLst>
              <a:ext uri="{FF2B5EF4-FFF2-40B4-BE49-F238E27FC236}">
                <a16:creationId xmlns:a16="http://schemas.microsoft.com/office/drawing/2014/main" id="{78C3E3C6-2AF2-1762-383E-0075B06DBCE8}"/>
              </a:ext>
            </a:extLst>
          </p:cNvPr>
          <p:cNvSpPr>
            <a:spLocks noGrp="1"/>
          </p:cNvSpPr>
          <p:nvPr>
            <p:ph type="body" idx="1"/>
          </p:nvPr>
        </p:nvSpPr>
        <p:spPr/>
        <p:txBody>
          <a:bodyPr/>
          <a:lstStyle/>
          <a:p>
            <a:endParaRPr lang="es-MX">
              <a:ea typeface="Calibri"/>
              <a:cs typeface="Calibri"/>
            </a:endParaRPr>
          </a:p>
        </p:txBody>
      </p:sp>
      <p:sp>
        <p:nvSpPr>
          <p:cNvPr id="4" name="Marcador de número de diapositiva 3">
            <a:extLst>
              <a:ext uri="{FF2B5EF4-FFF2-40B4-BE49-F238E27FC236}">
                <a16:creationId xmlns:a16="http://schemas.microsoft.com/office/drawing/2014/main" id="{93D2D614-7FC2-06A9-9A8F-07D90CA0A9A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0406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84800-3A18-1146-A74B-7502B50237D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4277C0B-EFF1-CFD4-80C0-1BE72AF80EFD}"/>
              </a:ext>
            </a:extLst>
          </p:cNvPr>
          <p:cNvSpPr>
            <a:spLocks noGrp="1" noRot="1" noChangeAspect="1"/>
          </p:cNvSpPr>
          <p:nvPr>
            <p:ph type="sldImg"/>
          </p:nvPr>
        </p:nvSpPr>
        <p:spPr>
          <a:xfrm>
            <a:off x="685800" y="1143000"/>
            <a:ext cx="5486400" cy="3086100"/>
          </a:xfrm>
        </p:spPr>
      </p:sp>
      <p:sp>
        <p:nvSpPr>
          <p:cNvPr id="3" name="Marcador de notas 2">
            <a:extLst>
              <a:ext uri="{FF2B5EF4-FFF2-40B4-BE49-F238E27FC236}">
                <a16:creationId xmlns:a16="http://schemas.microsoft.com/office/drawing/2014/main" id="{20E858FA-CB19-3228-64F1-C929D2E8E586}"/>
              </a:ext>
            </a:extLst>
          </p:cNvPr>
          <p:cNvSpPr>
            <a:spLocks noGrp="1"/>
          </p:cNvSpPr>
          <p:nvPr>
            <p:ph type="body" idx="1"/>
          </p:nvPr>
        </p:nvSpPr>
        <p:spPr/>
        <p:txBody>
          <a:bodyPr/>
          <a:lstStyle/>
          <a:p>
            <a:endParaRPr lang="es-MX">
              <a:ea typeface="Calibri"/>
              <a:cs typeface="Calibri"/>
            </a:endParaRPr>
          </a:p>
        </p:txBody>
      </p:sp>
      <p:sp>
        <p:nvSpPr>
          <p:cNvPr id="4" name="Marcador de número de diapositiva 3">
            <a:extLst>
              <a:ext uri="{FF2B5EF4-FFF2-40B4-BE49-F238E27FC236}">
                <a16:creationId xmlns:a16="http://schemas.microsoft.com/office/drawing/2014/main" id="{C10F62B3-59B2-AA79-C8DB-2881B09136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8710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84800-3A18-1146-A74B-7502B50237D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4277C0B-EFF1-CFD4-80C0-1BE72AF80EFD}"/>
              </a:ext>
            </a:extLst>
          </p:cNvPr>
          <p:cNvSpPr>
            <a:spLocks noGrp="1" noRot="1" noChangeAspect="1"/>
          </p:cNvSpPr>
          <p:nvPr>
            <p:ph type="sldImg"/>
          </p:nvPr>
        </p:nvSpPr>
        <p:spPr>
          <a:xfrm>
            <a:off x="685800" y="1143000"/>
            <a:ext cx="5486400" cy="3086100"/>
          </a:xfrm>
        </p:spPr>
      </p:sp>
      <p:sp>
        <p:nvSpPr>
          <p:cNvPr id="3" name="Marcador de notas 2">
            <a:extLst>
              <a:ext uri="{FF2B5EF4-FFF2-40B4-BE49-F238E27FC236}">
                <a16:creationId xmlns:a16="http://schemas.microsoft.com/office/drawing/2014/main" id="{20E858FA-CB19-3228-64F1-C929D2E8E586}"/>
              </a:ext>
            </a:extLst>
          </p:cNvPr>
          <p:cNvSpPr>
            <a:spLocks noGrp="1"/>
          </p:cNvSpPr>
          <p:nvPr>
            <p:ph type="body" idx="1"/>
          </p:nvPr>
        </p:nvSpPr>
        <p:spPr/>
        <p:txBody>
          <a:bodyPr/>
          <a:lstStyle/>
          <a:p>
            <a:endParaRPr lang="es-MX">
              <a:ea typeface="Calibri"/>
              <a:cs typeface="Calibri"/>
            </a:endParaRPr>
          </a:p>
        </p:txBody>
      </p:sp>
      <p:sp>
        <p:nvSpPr>
          <p:cNvPr id="4" name="Marcador de número de diapositiva 3">
            <a:extLst>
              <a:ext uri="{FF2B5EF4-FFF2-40B4-BE49-F238E27FC236}">
                <a16:creationId xmlns:a16="http://schemas.microsoft.com/office/drawing/2014/main" id="{C10F62B3-59B2-AA79-C8DB-2881B09136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599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a:t>Javier 2-5</a:t>
            </a:r>
          </a:p>
          <a:p>
            <a:endParaRPr lang="es-MX"/>
          </a:p>
        </p:txBody>
      </p:sp>
      <p:sp>
        <p:nvSpPr>
          <p:cNvPr id="4" name="Marcador de número de diapositiva 3"/>
          <p:cNvSpPr>
            <a:spLocks noGrp="1"/>
          </p:cNvSpPr>
          <p:nvPr>
            <p:ph type="sldNum" sz="quarter" idx="5"/>
          </p:nvPr>
        </p:nvSpPr>
        <p:spPr/>
        <p:txBody>
          <a:bodyPr/>
          <a:lstStyle/>
          <a:p>
            <a:fld id="{C40568F8-C327-44EB-BA19-A2D08DC18D0F}" type="slidenum">
              <a:rPr lang="es-MX" smtClean="0"/>
              <a:t>2</a:t>
            </a:fld>
            <a:endParaRPr lang="es-MX"/>
          </a:p>
        </p:txBody>
      </p:sp>
    </p:spTree>
    <p:extLst>
      <p:ext uri="{BB962C8B-B14F-4D97-AF65-F5344CB8AC3E}">
        <p14:creationId xmlns:p14="http://schemas.microsoft.com/office/powerpoint/2010/main" val="3771656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3B4B1-342F-F835-F9E2-EFB7453292A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2E909D8-BDBE-AD7F-A3E9-34AE28EA338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B88CF80-6C8D-5A8B-88AE-99872B38471D}"/>
              </a:ext>
            </a:extLst>
          </p:cNvPr>
          <p:cNvSpPr>
            <a:spLocks noGrp="1"/>
          </p:cNvSpPr>
          <p:nvPr>
            <p:ph type="body" idx="1"/>
          </p:nvPr>
        </p:nvSpPr>
        <p:spPr/>
        <p:txBody>
          <a:bodyPr/>
          <a:lstStyle/>
          <a:p>
            <a:r>
              <a:rPr lang="es-MX"/>
              <a:t>Javier 2-5</a:t>
            </a:r>
          </a:p>
          <a:p>
            <a:endParaRPr lang="es-MX"/>
          </a:p>
        </p:txBody>
      </p:sp>
      <p:sp>
        <p:nvSpPr>
          <p:cNvPr id="4" name="Marcador de número de diapositiva 3">
            <a:extLst>
              <a:ext uri="{FF2B5EF4-FFF2-40B4-BE49-F238E27FC236}">
                <a16:creationId xmlns:a16="http://schemas.microsoft.com/office/drawing/2014/main" id="{25555C53-82BF-F8A8-C93A-DC8B3E74DD0A}"/>
              </a:ext>
            </a:extLst>
          </p:cNvPr>
          <p:cNvSpPr>
            <a:spLocks noGrp="1"/>
          </p:cNvSpPr>
          <p:nvPr>
            <p:ph type="sldNum" sz="quarter" idx="5"/>
          </p:nvPr>
        </p:nvSpPr>
        <p:spPr/>
        <p:txBody>
          <a:bodyPr/>
          <a:lstStyle/>
          <a:p>
            <a:fld id="{C40568F8-C327-44EB-BA19-A2D08DC18D0F}" type="slidenum">
              <a:rPr lang="es-MX" smtClean="0"/>
              <a:t>3</a:t>
            </a:fld>
            <a:endParaRPr lang="es-MX"/>
          </a:p>
        </p:txBody>
      </p:sp>
    </p:spTree>
    <p:extLst>
      <p:ext uri="{BB962C8B-B14F-4D97-AF65-F5344CB8AC3E}">
        <p14:creationId xmlns:p14="http://schemas.microsoft.com/office/powerpoint/2010/main" val="2304718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C4BCC-5B4F-EF61-BF35-F971AD63C01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FC109D7-4A7D-DB72-1D53-7C68DB8DFC7B}"/>
              </a:ext>
            </a:extLst>
          </p:cNvPr>
          <p:cNvSpPr>
            <a:spLocks noGrp="1" noRot="1" noChangeAspect="1"/>
          </p:cNvSpPr>
          <p:nvPr>
            <p:ph type="sldImg"/>
          </p:nvPr>
        </p:nvSpPr>
        <p:spPr>
          <a:xfrm>
            <a:off x="685800" y="1143000"/>
            <a:ext cx="5486400" cy="3086100"/>
          </a:xfrm>
        </p:spPr>
      </p:sp>
      <p:sp>
        <p:nvSpPr>
          <p:cNvPr id="3" name="Marcador de notas 2">
            <a:extLst>
              <a:ext uri="{FF2B5EF4-FFF2-40B4-BE49-F238E27FC236}">
                <a16:creationId xmlns:a16="http://schemas.microsoft.com/office/drawing/2014/main" id="{5DC4E715-8223-69C6-C6B5-7490DB394D06}"/>
              </a:ext>
            </a:extLst>
          </p:cNvPr>
          <p:cNvSpPr>
            <a:spLocks noGrp="1"/>
          </p:cNvSpPr>
          <p:nvPr>
            <p:ph type="body" idx="1"/>
          </p:nvPr>
        </p:nvSpPr>
        <p:spPr/>
        <p:txBody>
          <a:bodyPr/>
          <a:lstStyle/>
          <a:p>
            <a:endParaRPr lang="es-MX">
              <a:ea typeface="Calibri"/>
              <a:cs typeface="Calibri"/>
            </a:endParaRPr>
          </a:p>
        </p:txBody>
      </p:sp>
      <p:sp>
        <p:nvSpPr>
          <p:cNvPr id="4" name="Marcador de número de diapositiva 3">
            <a:extLst>
              <a:ext uri="{FF2B5EF4-FFF2-40B4-BE49-F238E27FC236}">
                <a16:creationId xmlns:a16="http://schemas.microsoft.com/office/drawing/2014/main" id="{340758DC-ADE9-124C-AFCB-F846BF2FCC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949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85800" y="1143000"/>
            <a:ext cx="5486400" cy="3086100"/>
          </a:xfrm>
        </p:spPr>
      </p:sp>
      <p:sp>
        <p:nvSpPr>
          <p:cNvPr id="3" name="Marcador de notas 2"/>
          <p:cNvSpPr>
            <a:spLocks noGrp="1"/>
          </p:cNvSpPr>
          <p:nvPr>
            <p:ph type="body" idx="1"/>
          </p:nvPr>
        </p:nvSpPr>
        <p:spPr/>
        <p:txBody>
          <a:bodyPr/>
          <a:lstStyle/>
          <a:p>
            <a:endParaRPr lang="es-MX">
              <a:ea typeface="Calibri"/>
              <a:cs typeface="Calibri"/>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3923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2C82D-A107-5937-0A96-F9D6F8D0A9D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1B24DB9-445B-75DA-9D74-4BCBE61923DB}"/>
              </a:ext>
            </a:extLst>
          </p:cNvPr>
          <p:cNvSpPr>
            <a:spLocks noGrp="1" noRot="1" noChangeAspect="1"/>
          </p:cNvSpPr>
          <p:nvPr>
            <p:ph type="sldImg"/>
          </p:nvPr>
        </p:nvSpPr>
        <p:spPr>
          <a:xfrm>
            <a:off x="685800" y="1143000"/>
            <a:ext cx="5486400" cy="3086100"/>
          </a:xfrm>
        </p:spPr>
      </p:sp>
      <p:sp>
        <p:nvSpPr>
          <p:cNvPr id="3" name="Marcador de notas 2">
            <a:extLst>
              <a:ext uri="{FF2B5EF4-FFF2-40B4-BE49-F238E27FC236}">
                <a16:creationId xmlns:a16="http://schemas.microsoft.com/office/drawing/2014/main" id="{E33E809E-08E1-9707-56B4-6A8CAB11FB44}"/>
              </a:ext>
            </a:extLst>
          </p:cNvPr>
          <p:cNvSpPr>
            <a:spLocks noGrp="1"/>
          </p:cNvSpPr>
          <p:nvPr>
            <p:ph type="body" idx="1"/>
          </p:nvPr>
        </p:nvSpPr>
        <p:spPr/>
        <p:txBody>
          <a:bodyPr/>
          <a:lstStyle/>
          <a:p>
            <a:endParaRPr lang="es-MX"/>
          </a:p>
        </p:txBody>
      </p:sp>
      <p:sp>
        <p:nvSpPr>
          <p:cNvPr id="4" name="Marcador de número de diapositiva 3">
            <a:extLst>
              <a:ext uri="{FF2B5EF4-FFF2-40B4-BE49-F238E27FC236}">
                <a16:creationId xmlns:a16="http://schemas.microsoft.com/office/drawing/2014/main" id="{FA5C6FA2-9CA8-8218-66B2-E667832FFC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3935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943148-ABC7-FE98-23DF-41E94E8538E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AD42BD4-DB3F-A09B-A416-EBE8A401625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FB52FBC-38FD-BB74-BFF7-4C189759B87D}"/>
              </a:ext>
            </a:extLst>
          </p:cNvPr>
          <p:cNvSpPr>
            <a:spLocks noGrp="1"/>
          </p:cNvSpPr>
          <p:nvPr>
            <p:ph type="body" idx="1"/>
          </p:nvPr>
        </p:nvSpPr>
        <p:spPr/>
        <p:txBody>
          <a:bodyPr/>
          <a:lstStyle/>
          <a:p>
            <a:r>
              <a:rPr lang="es-MX" err="1">
                <a:ea typeface="Calibri"/>
                <a:cs typeface="Calibri"/>
              </a:rPr>
              <a:t>Banking</a:t>
            </a:r>
            <a:r>
              <a:rPr lang="es-MX">
                <a:ea typeface="Calibri"/>
                <a:cs typeface="Calibri"/>
              </a:rPr>
              <a:t> Data: cliente, cuenta, producto </a:t>
            </a:r>
            <a:r>
              <a:rPr lang="es-MX" err="1">
                <a:ea typeface="Calibri"/>
                <a:cs typeface="Calibri"/>
              </a:rPr>
              <a:t>dummy</a:t>
            </a:r>
            <a:r>
              <a:rPr lang="es-MX">
                <a:ea typeface="Calibri"/>
                <a:cs typeface="Calibri"/>
              </a:rPr>
              <a:t> con consistencia. CIF (</a:t>
            </a:r>
            <a:r>
              <a:rPr lang="es-MX" err="1">
                <a:ea typeface="Calibri"/>
                <a:cs typeface="Calibri"/>
              </a:rPr>
              <a:t>customer</a:t>
            </a:r>
            <a:r>
              <a:rPr lang="es-MX">
                <a:ea typeface="Calibri"/>
                <a:cs typeface="Calibri"/>
              </a:rPr>
              <a:t> </a:t>
            </a:r>
            <a:r>
              <a:rPr lang="es-MX" err="1">
                <a:ea typeface="Calibri"/>
                <a:cs typeface="Calibri"/>
              </a:rPr>
              <a:t>info</a:t>
            </a:r>
            <a:r>
              <a:rPr lang="es-MX">
                <a:ea typeface="Calibri"/>
                <a:cs typeface="Calibri"/>
              </a:rPr>
              <a:t> file)</a:t>
            </a:r>
          </a:p>
          <a:p>
            <a:r>
              <a:rPr lang="es-MX">
                <a:ea typeface="Calibri"/>
                <a:cs typeface="Calibri"/>
              </a:rPr>
              <a:t>Script </a:t>
            </a:r>
            <a:r>
              <a:rPr lang="es-MX" err="1">
                <a:ea typeface="Calibri"/>
                <a:cs typeface="Calibri"/>
              </a:rPr>
              <a:t>Maintenance</a:t>
            </a:r>
            <a:endParaRPr lang="es-MX">
              <a:ea typeface="Calibri"/>
              <a:cs typeface="Calibri"/>
            </a:endParaRPr>
          </a:p>
          <a:p>
            <a:r>
              <a:rPr lang="es-MX">
                <a:ea typeface="Calibri"/>
                <a:cs typeface="Calibri"/>
              </a:rPr>
              <a:t>	Script </a:t>
            </a:r>
            <a:r>
              <a:rPr lang="es-MX" err="1">
                <a:ea typeface="Calibri"/>
                <a:cs typeface="Calibri"/>
              </a:rPr>
              <a:t>Production</a:t>
            </a:r>
            <a:endParaRPr lang="es-MX">
              <a:ea typeface="Calibri"/>
              <a:cs typeface="Calibri"/>
            </a:endParaRPr>
          </a:p>
          <a:p>
            <a:r>
              <a:rPr lang="es-MX">
                <a:ea typeface="Calibri"/>
                <a:cs typeface="Calibri"/>
              </a:rPr>
              <a:t>	Script </a:t>
            </a:r>
            <a:r>
              <a:rPr lang="es-MX" err="1">
                <a:ea typeface="Calibri"/>
                <a:cs typeface="Calibri"/>
              </a:rPr>
              <a:t>Update</a:t>
            </a:r>
            <a:endParaRPr lang="es-MX">
              <a:ea typeface="Calibri"/>
              <a:cs typeface="Calibri"/>
            </a:endParaRPr>
          </a:p>
          <a:p>
            <a:r>
              <a:rPr lang="es-MX">
                <a:ea typeface="Calibri"/>
                <a:cs typeface="Calibri"/>
              </a:rPr>
              <a:t>	Script </a:t>
            </a:r>
            <a:r>
              <a:rPr lang="es-MX" err="1">
                <a:ea typeface="Calibri"/>
                <a:cs typeface="Calibri"/>
              </a:rPr>
              <a:t>Optimization</a:t>
            </a:r>
            <a:endParaRPr lang="es-MX">
              <a:ea typeface="Calibri"/>
              <a:cs typeface="Calibri"/>
            </a:endParaRPr>
          </a:p>
          <a:p>
            <a:endParaRPr lang="es-MX">
              <a:ea typeface="Calibri"/>
              <a:cs typeface="Calibri"/>
            </a:endParaRPr>
          </a:p>
          <a:p>
            <a:r>
              <a:rPr lang="es-MX">
                <a:ea typeface="Calibri"/>
                <a:cs typeface="Calibri"/>
              </a:rPr>
              <a:t>Quitar 6 </a:t>
            </a:r>
            <a:r>
              <a:rPr lang="es-MX" err="1">
                <a:ea typeface="Calibri"/>
                <a:cs typeface="Calibri"/>
              </a:rPr>
              <a:t>Defect</a:t>
            </a:r>
            <a:r>
              <a:rPr lang="es-MX">
                <a:ea typeface="Calibri"/>
                <a:cs typeface="Calibri"/>
              </a:rPr>
              <a:t> </a:t>
            </a:r>
            <a:r>
              <a:rPr lang="es-MX" err="1">
                <a:ea typeface="Calibri"/>
                <a:cs typeface="Calibri"/>
              </a:rPr>
              <a:t>Reporting</a:t>
            </a:r>
            <a:r>
              <a:rPr lang="es-MX">
                <a:ea typeface="Calibri"/>
                <a:cs typeface="Calibri"/>
              </a:rPr>
              <a:t>, nos quedamos con 1-7*</a:t>
            </a:r>
          </a:p>
          <a:p>
            <a:r>
              <a:rPr lang="es-MX">
                <a:ea typeface="Calibri"/>
                <a:cs typeface="Calibri"/>
              </a:rPr>
              <a:t>7* se llama UAT, en lugar de UTA</a:t>
            </a:r>
          </a:p>
          <a:p>
            <a:r>
              <a:rPr lang="es-MX">
                <a:ea typeface="Calibri"/>
                <a:cs typeface="Calibri"/>
              </a:rPr>
              <a:t>4, 5 y 6* quedan dentro de una caja llamada </a:t>
            </a:r>
          </a:p>
        </p:txBody>
      </p:sp>
      <p:sp>
        <p:nvSpPr>
          <p:cNvPr id="4" name="Marcador de número de diapositiva 3">
            <a:extLst>
              <a:ext uri="{FF2B5EF4-FFF2-40B4-BE49-F238E27FC236}">
                <a16:creationId xmlns:a16="http://schemas.microsoft.com/office/drawing/2014/main" id="{62598DE6-F6C5-6FF8-3647-0F7042E9B7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687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FDD86-5671-E916-5C75-2C2867EBF73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BC32CBD-FE96-90C5-3A3C-1B7AE1E081A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90BF61EC-E4BC-802E-9CDC-2760D2C5BD36}"/>
              </a:ext>
            </a:extLst>
          </p:cNvPr>
          <p:cNvSpPr>
            <a:spLocks noGrp="1"/>
          </p:cNvSpPr>
          <p:nvPr>
            <p:ph type="body" idx="1"/>
          </p:nvPr>
        </p:nvSpPr>
        <p:spPr/>
        <p:txBody>
          <a:bodyPr/>
          <a:lstStyle/>
          <a:p>
            <a:r>
              <a:rPr lang="es-MX">
                <a:cs typeface="Calibri"/>
              </a:rPr>
              <a:t>Flujo 1:</a:t>
            </a:r>
          </a:p>
          <a:p>
            <a:r>
              <a:rPr lang="es-MX" err="1">
                <a:cs typeface="Calibri"/>
              </a:rPr>
              <a:t>Tester</a:t>
            </a:r>
            <a:r>
              <a:rPr lang="es-MX">
                <a:cs typeface="Calibri"/>
              </a:rPr>
              <a:t> recibe </a:t>
            </a:r>
            <a:r>
              <a:rPr lang="es-MX" err="1">
                <a:cs typeface="Calibri"/>
              </a:rPr>
              <a:t>User</a:t>
            </a:r>
            <a:r>
              <a:rPr lang="es-MX">
                <a:cs typeface="Calibri"/>
              </a:rPr>
              <a:t> </a:t>
            </a:r>
            <a:r>
              <a:rPr lang="es-MX" err="1">
                <a:cs typeface="Calibri"/>
              </a:rPr>
              <a:t>Stories</a:t>
            </a:r>
            <a:r>
              <a:rPr lang="es-MX">
                <a:cs typeface="Calibri"/>
              </a:rPr>
              <a:t> y trabaja con Producto y Desarrollo para auditar los requerimientos y asegurarse que sean consistentes. Después se alimentan a los modelos de IA y esta va a entregar Test Cases, los cuales pasarán a Deep </a:t>
            </a:r>
            <a:r>
              <a:rPr lang="es-MX" err="1">
                <a:cs typeface="Calibri"/>
              </a:rPr>
              <a:t>Design</a:t>
            </a:r>
            <a:r>
              <a:rPr lang="es-MX">
                <a:cs typeface="Calibri"/>
              </a:rPr>
              <a:t>.</a:t>
            </a:r>
          </a:p>
          <a:p>
            <a:endParaRPr lang="es-MX">
              <a:cs typeface="Calibri"/>
            </a:endParaRPr>
          </a:p>
          <a:p>
            <a:r>
              <a:rPr lang="es-MX">
                <a:cs typeface="Calibri"/>
              </a:rPr>
              <a:t>Flujo 2:</a:t>
            </a:r>
          </a:p>
          <a:p>
            <a:r>
              <a:rPr lang="es-MX">
                <a:cs typeface="Calibri"/>
              </a:rPr>
              <a:t>Test Cases </a:t>
            </a:r>
            <a:r>
              <a:rPr lang="es-MX" b="1">
                <a:cs typeface="Calibri"/>
              </a:rPr>
              <a:t>auditados</a:t>
            </a:r>
            <a:r>
              <a:rPr lang="es-MX" b="0">
                <a:cs typeface="Calibri"/>
              </a:rPr>
              <a:t> se alimentan al AI y esta a su vez entrega Scripts de Automatización los cuales van a pasar por una última auditoria y ajuste.</a:t>
            </a:r>
          </a:p>
          <a:p>
            <a:endParaRPr lang="es-MX" b="0">
              <a:cs typeface="Calibri"/>
            </a:endParaRPr>
          </a:p>
          <a:p>
            <a:r>
              <a:rPr lang="es-MX" b="0" err="1">
                <a:cs typeface="Calibri"/>
              </a:rPr>
              <a:t>Better</a:t>
            </a:r>
            <a:r>
              <a:rPr lang="es-MX" b="0">
                <a:cs typeface="Calibri"/>
              </a:rPr>
              <a:t> </a:t>
            </a:r>
            <a:r>
              <a:rPr lang="es-MX" b="0" err="1">
                <a:cs typeface="Calibri"/>
              </a:rPr>
              <a:t>company</a:t>
            </a:r>
            <a:r>
              <a:rPr lang="es-MX" b="0">
                <a:cs typeface="Calibri"/>
              </a:rPr>
              <a:t> </a:t>
            </a:r>
            <a:r>
              <a:rPr lang="es-MX" b="0" err="1">
                <a:cs typeface="Calibri"/>
              </a:rPr>
              <a:t>image</a:t>
            </a:r>
            <a:r>
              <a:rPr lang="es-MX" b="0">
                <a:cs typeface="Calibri"/>
              </a:rPr>
              <a:t> </a:t>
            </a:r>
            <a:r>
              <a:rPr lang="es-MX" b="0" err="1">
                <a:cs typeface="Calibri"/>
              </a:rPr>
              <a:t>through</a:t>
            </a:r>
            <a:r>
              <a:rPr lang="es-MX" b="0">
                <a:cs typeface="Calibri"/>
              </a:rPr>
              <a:t> </a:t>
            </a:r>
            <a:r>
              <a:rPr lang="es-MX" b="0" err="1">
                <a:cs typeface="Calibri"/>
              </a:rPr>
              <a:t>fewer</a:t>
            </a:r>
            <a:r>
              <a:rPr lang="es-MX" b="0">
                <a:cs typeface="Calibri"/>
              </a:rPr>
              <a:t> </a:t>
            </a:r>
            <a:r>
              <a:rPr lang="es-MX" b="0" err="1">
                <a:cs typeface="Calibri"/>
              </a:rPr>
              <a:t>defects</a:t>
            </a:r>
            <a:endParaRPr lang="es-MX" b="0">
              <a:cs typeface="Calibri"/>
            </a:endParaRPr>
          </a:p>
          <a:p>
            <a:endParaRPr lang="es-MX" b="0">
              <a:cs typeface="Calibri"/>
            </a:endParaRPr>
          </a:p>
          <a:p>
            <a:r>
              <a:rPr lang="es-MX" b="0">
                <a:cs typeface="Calibri"/>
              </a:rPr>
              <a:t>Confianza a través de la cooperación humano + AI</a:t>
            </a:r>
          </a:p>
          <a:p>
            <a:endParaRPr lang="es-MX">
              <a:cs typeface="Calibri"/>
            </a:endParaRPr>
          </a:p>
        </p:txBody>
      </p:sp>
      <p:sp>
        <p:nvSpPr>
          <p:cNvPr id="4" name="Marcador de número de diapositiva 3">
            <a:extLst>
              <a:ext uri="{FF2B5EF4-FFF2-40B4-BE49-F238E27FC236}">
                <a16:creationId xmlns:a16="http://schemas.microsoft.com/office/drawing/2014/main" id="{BC38780D-74C5-6D29-07B6-53165DA3D5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C2AC55-313E-4D09-8099-F0FFAA3BB4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249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3C7CC4-984F-42EB-A173-3A1D2068ADE8}"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4170397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33981744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048C6E0-D800-483B-1F47-6C1BFA826F31}"/>
              </a:ext>
            </a:extLst>
          </p:cNvPr>
          <p:cNvSpPr>
            <a:spLocks noGrp="1"/>
          </p:cNvSpPr>
          <p:nvPr>
            <p:ph type="body" sz="quarter" idx="10" hasCustomPrompt="1"/>
          </p:nvPr>
        </p:nvSpPr>
        <p:spPr>
          <a:xfrm>
            <a:off x="616384" y="4433309"/>
            <a:ext cx="4680000" cy="757130"/>
          </a:xfrm>
        </p:spPr>
        <p:txBody>
          <a:bodyPr wrap="square" anchor="ctr">
            <a:noAutofit/>
          </a:bodyPr>
          <a:lstStyle>
            <a:lvl1pPr marL="0" indent="0">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s-419" noProof="0"/>
              <a:t>Título de la presentación con máximo dos renglones</a:t>
            </a:r>
          </a:p>
        </p:txBody>
      </p:sp>
      <p:sp>
        <p:nvSpPr>
          <p:cNvPr id="14" name="Text Placeholder 13">
            <a:extLst>
              <a:ext uri="{FF2B5EF4-FFF2-40B4-BE49-F238E27FC236}">
                <a16:creationId xmlns:a16="http://schemas.microsoft.com/office/drawing/2014/main" id="{F441DC34-D44E-D70A-967E-FB58DF05AA71}"/>
              </a:ext>
            </a:extLst>
          </p:cNvPr>
          <p:cNvSpPr>
            <a:spLocks noGrp="1"/>
          </p:cNvSpPr>
          <p:nvPr>
            <p:ph type="body" sz="quarter" idx="11" hasCustomPrompt="1"/>
          </p:nvPr>
        </p:nvSpPr>
        <p:spPr>
          <a:xfrm>
            <a:off x="616384" y="5379024"/>
            <a:ext cx="4680000" cy="341632"/>
          </a:xfrm>
        </p:spPr>
        <p:txBody>
          <a:bodyPr>
            <a:spAutoFit/>
          </a:bodyPr>
          <a:lstStyle>
            <a:lvl1pPr marL="0" indent="0">
              <a:buNone/>
              <a:defRPr sz="1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s-419" noProof="0"/>
              <a:t>Subtítulo de la presentación</a:t>
            </a:r>
          </a:p>
        </p:txBody>
      </p:sp>
      <p:sp>
        <p:nvSpPr>
          <p:cNvPr id="15" name="Text Placeholder 13">
            <a:extLst>
              <a:ext uri="{FF2B5EF4-FFF2-40B4-BE49-F238E27FC236}">
                <a16:creationId xmlns:a16="http://schemas.microsoft.com/office/drawing/2014/main" id="{AC13F768-DAA9-DD6E-8D41-057EAEB65E47}"/>
              </a:ext>
            </a:extLst>
          </p:cNvPr>
          <p:cNvSpPr>
            <a:spLocks noGrp="1"/>
          </p:cNvSpPr>
          <p:nvPr>
            <p:ph type="body" sz="quarter" idx="12" hasCustomPrompt="1"/>
          </p:nvPr>
        </p:nvSpPr>
        <p:spPr>
          <a:xfrm>
            <a:off x="616384" y="5819194"/>
            <a:ext cx="4680000" cy="341632"/>
          </a:xfrm>
        </p:spPr>
        <p:txBody>
          <a:bodyPr>
            <a:spAutoFit/>
          </a:bodyPr>
          <a:lstStyle>
            <a:lvl1pPr marL="0" indent="0">
              <a:buNone/>
              <a:defRPr sz="1800">
                <a:solidFill>
                  <a:schemeClr val="accent2"/>
                </a:solidFill>
                <a:latin typeface="+mj-lt"/>
                <a:ea typeface="Open Sans" panose="020B0606030504020204" pitchFamily="34" charset="0"/>
                <a:cs typeface="Open Sans" panose="020B0606030504020204" pitchFamily="34" charset="0"/>
              </a:defRPr>
            </a:lvl1pPr>
          </a:lstStyle>
          <a:p>
            <a:pPr lvl="0"/>
            <a:r>
              <a:rPr lang="es-419" noProof="0"/>
              <a:t>Fecha de la presentación</a:t>
            </a:r>
          </a:p>
        </p:txBody>
      </p:sp>
    </p:spTree>
    <p:extLst>
      <p:ext uri="{BB962C8B-B14F-4D97-AF65-F5344CB8AC3E}">
        <p14:creationId xmlns:p14="http://schemas.microsoft.com/office/powerpoint/2010/main" val="42800180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rati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2FBDF9-6D2E-2B09-7146-E59835149B4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302FBDF9-6D2E-2B09-7146-E59835149B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13">
            <a:extLst>
              <a:ext uri="{FF2B5EF4-FFF2-40B4-BE49-F238E27FC236}">
                <a16:creationId xmlns:a16="http://schemas.microsoft.com/office/drawing/2014/main" id="{A103E648-9877-E658-2D79-29265004A8D4}"/>
              </a:ext>
            </a:extLst>
          </p:cNvPr>
          <p:cNvSpPr>
            <a:spLocks noGrp="1"/>
          </p:cNvSpPr>
          <p:nvPr>
            <p:ph type="body" sz="quarter" idx="11" hasCustomPrompt="1"/>
          </p:nvPr>
        </p:nvSpPr>
        <p:spPr>
          <a:xfrm>
            <a:off x="6871710" y="4388423"/>
            <a:ext cx="2664000" cy="286232"/>
          </a:xfrm>
        </p:spPr>
        <p:txBody>
          <a:bodyPr wrap="square">
            <a:spAutoFit/>
          </a:bodyPr>
          <a:lstStyle>
            <a:lvl1pPr marL="0" indent="0" rtl="0">
              <a:buNone/>
              <a:defRPr sz="1400">
                <a:gradFill>
                  <a:gsLst>
                    <a:gs pos="0">
                      <a:schemeClr val="accent2"/>
                    </a:gs>
                    <a:gs pos="85000">
                      <a:schemeClr val="accent6"/>
                    </a:gs>
                  </a:gsLst>
                  <a:lin ang="0" scaled="1"/>
                </a:gra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noProof="0"/>
              <a:t>Nuestros Socios Estratégicos</a:t>
            </a:r>
          </a:p>
        </p:txBody>
      </p:sp>
      <p:sp>
        <p:nvSpPr>
          <p:cNvPr id="8" name="Text Placeholder 13">
            <a:extLst>
              <a:ext uri="{FF2B5EF4-FFF2-40B4-BE49-F238E27FC236}">
                <a16:creationId xmlns:a16="http://schemas.microsoft.com/office/drawing/2014/main" id="{70A6DA7E-9248-559D-D55A-4D657C1FFAB4}"/>
              </a:ext>
            </a:extLst>
          </p:cNvPr>
          <p:cNvSpPr>
            <a:spLocks noGrp="1"/>
          </p:cNvSpPr>
          <p:nvPr>
            <p:ph type="body" sz="quarter" idx="12" hasCustomPrompt="1"/>
          </p:nvPr>
        </p:nvSpPr>
        <p:spPr>
          <a:xfrm>
            <a:off x="3678238" y="3073506"/>
            <a:ext cx="1856653" cy="313932"/>
          </a:xfrm>
        </p:spPr>
        <p:txBody>
          <a:bodyPr wrap="square">
            <a:spAutoFit/>
          </a:bodyPr>
          <a:lstStyle>
            <a:lvl1pPr marL="0" indent="0" rtl="0">
              <a:buNone/>
              <a:defRPr sz="1600" b="1">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300 + Empleados</a:t>
            </a:r>
          </a:p>
        </p:txBody>
      </p:sp>
      <p:sp>
        <p:nvSpPr>
          <p:cNvPr id="9" name="Text Placeholder 13">
            <a:extLst>
              <a:ext uri="{FF2B5EF4-FFF2-40B4-BE49-F238E27FC236}">
                <a16:creationId xmlns:a16="http://schemas.microsoft.com/office/drawing/2014/main" id="{CF4D6CF7-2F9C-9060-EBEC-687D5FAA3416}"/>
              </a:ext>
            </a:extLst>
          </p:cNvPr>
          <p:cNvSpPr>
            <a:spLocks noGrp="1"/>
          </p:cNvSpPr>
          <p:nvPr>
            <p:ph type="body" sz="quarter" idx="13" hasCustomPrompt="1"/>
          </p:nvPr>
        </p:nvSpPr>
        <p:spPr>
          <a:xfrm>
            <a:off x="6871710" y="1404031"/>
            <a:ext cx="2163917" cy="341632"/>
          </a:xfrm>
        </p:spPr>
        <p:txBody>
          <a:bodyPr wrap="square">
            <a:spAutoFit/>
          </a:bodyPr>
          <a:lstStyle>
            <a:lvl1pPr marL="0" indent="0" rtl="0">
              <a:buNone/>
              <a:defRPr sz="1800" b="0">
                <a:gradFill>
                  <a:gsLst>
                    <a:gs pos="0">
                      <a:schemeClr val="accent2"/>
                    </a:gs>
                    <a:gs pos="85000">
                      <a:schemeClr val="accent6"/>
                    </a:gs>
                  </a:gsLst>
                  <a:lin ang="0" scaled="1"/>
                </a:gra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pPr lvl="0"/>
            <a:r>
              <a:rPr lang="en-US" noProof="0"/>
              <a:t>SOMOS STRATIS</a:t>
            </a:r>
          </a:p>
        </p:txBody>
      </p:sp>
      <p:sp>
        <p:nvSpPr>
          <p:cNvPr id="11" name="Text Placeholder 13">
            <a:extLst>
              <a:ext uri="{FF2B5EF4-FFF2-40B4-BE49-F238E27FC236}">
                <a16:creationId xmlns:a16="http://schemas.microsoft.com/office/drawing/2014/main" id="{AF247844-469D-86C5-FE1E-2A1E0CA3A46C}"/>
              </a:ext>
            </a:extLst>
          </p:cNvPr>
          <p:cNvSpPr>
            <a:spLocks noGrp="1"/>
          </p:cNvSpPr>
          <p:nvPr>
            <p:ph type="body" sz="quarter" idx="14" hasCustomPrompt="1"/>
          </p:nvPr>
        </p:nvSpPr>
        <p:spPr>
          <a:xfrm>
            <a:off x="6871709" y="1958218"/>
            <a:ext cx="4752000" cy="1883785"/>
          </a:xfrm>
        </p:spPr>
        <p:txBody>
          <a:bodyPr wrap="square">
            <a:spAutoFit/>
          </a:bodyPr>
          <a:lstStyle>
            <a:lvl1pPr marL="0" indent="0" rtl="0">
              <a:lnSpc>
                <a:spcPct val="120000"/>
              </a:lnSpc>
              <a:spcBef>
                <a:spcPts val="600"/>
              </a:spcBef>
              <a:spcAft>
                <a:spcPts val="600"/>
              </a:spcAft>
              <a:buNone/>
              <a:defRPr sz="1400" b="0">
                <a:solidFill>
                  <a:schemeClr val="tx1"/>
                </a:solidFill>
                <a:latin typeface="+mn-lt"/>
                <a:ea typeface="Open Sans ExtraBold" panose="020B0906030804020204" pitchFamily="34" charset="0"/>
                <a:cs typeface="Open Sans ExtraBold" panose="020B0906030804020204" pitchFamily="34" charset="0"/>
              </a:defRPr>
            </a:lvl1pPr>
          </a:lstStyle>
          <a:p>
            <a:pPr lvl="0"/>
            <a:r>
              <a:rPr lang="en-US" noProof="0"/>
              <a:t>Stratis es una firma de consultoría de negocio y transformación digital con más de 20 años de experiencia en el diseño, evolución e implementación de proyectos de procesos y tecnología en las industrias de pagos, servicios financieros y seguros. Con sede corporativa en Weston (Florida), tenemos subsidiarias en CDMX, Chicago, Santiago de Chile, Guayaquil y Sao Paulo</a:t>
            </a:r>
          </a:p>
        </p:txBody>
      </p:sp>
      <p:sp>
        <p:nvSpPr>
          <p:cNvPr id="17" name="Slide Number Placeholder 16">
            <a:extLst>
              <a:ext uri="{FF2B5EF4-FFF2-40B4-BE49-F238E27FC236}">
                <a16:creationId xmlns:a16="http://schemas.microsoft.com/office/drawing/2014/main" id="{BD635583-01A4-43B4-A96E-C02A6E9A283D}"/>
              </a:ext>
            </a:extLst>
          </p:cNvPr>
          <p:cNvSpPr>
            <a:spLocks noGrp="1"/>
          </p:cNvSpPr>
          <p:nvPr>
            <p:ph type="sldNum" sz="quarter" idx="17"/>
          </p:nvPr>
        </p:nvSpPr>
        <p:spPr>
          <a:xfrm>
            <a:off x="11547762" y="6356350"/>
            <a:ext cx="374072" cy="365125"/>
          </a:xfrm>
        </p:spPr>
        <p:txBody>
          <a:bodyPr/>
          <a:lstStyle>
            <a:lvl1pPr rtl="0">
              <a:defRPr>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54CD5EE6-B07D-46D8-B98F-6FBF37506E8E}" type="slidenum">
              <a:rPr lang="en-US" smtClean="0"/>
              <a:pPr/>
              <a:t>‹Nº›</a:t>
            </a:fld>
            <a:endParaRPr lang="en-US"/>
          </a:p>
        </p:txBody>
      </p:sp>
    </p:spTree>
    <p:extLst>
      <p:ext uri="{BB962C8B-B14F-4D97-AF65-F5344CB8AC3E}">
        <p14:creationId xmlns:p14="http://schemas.microsoft.com/office/powerpoint/2010/main" val="1995994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Contac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13">
            <a:extLst>
              <a:ext uri="{FF2B5EF4-FFF2-40B4-BE49-F238E27FC236}">
                <a16:creationId xmlns:a16="http://schemas.microsoft.com/office/drawing/2014/main" id="{62AD9DFD-2585-DB7B-E918-45FC2ED80892}"/>
              </a:ext>
            </a:extLst>
          </p:cNvPr>
          <p:cNvSpPr>
            <a:spLocks noGrp="1"/>
          </p:cNvSpPr>
          <p:nvPr>
            <p:ph type="body" sz="quarter" idx="13" hasCustomPrompt="1"/>
          </p:nvPr>
        </p:nvSpPr>
        <p:spPr>
          <a:xfrm>
            <a:off x="4447163" y="780576"/>
            <a:ext cx="3312000" cy="313932"/>
          </a:xfrm>
        </p:spPr>
        <p:txBody>
          <a:bodyPr wrap="square">
            <a:spAutoFit/>
          </a:bodyPr>
          <a:lstStyle>
            <a:lvl1pPr marL="0" indent="0" algn="ctr">
              <a:buNone/>
              <a:defRPr sz="1600" b="0">
                <a:gradFill>
                  <a:gsLst>
                    <a:gs pos="0">
                      <a:schemeClr val="accent2"/>
                    </a:gs>
                    <a:gs pos="85000">
                      <a:schemeClr val="accent6"/>
                    </a:gs>
                  </a:gsLst>
                  <a:lin ang="0" scaled="1"/>
                </a:gra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pPr lvl="0"/>
            <a:r>
              <a:rPr lang="es-419" noProof="0"/>
              <a:t>NUESTRO EQUIPO</a:t>
            </a:r>
          </a:p>
        </p:txBody>
      </p:sp>
    </p:spTree>
    <p:extLst>
      <p:ext uri="{BB962C8B-B14F-4D97-AF65-F5344CB8AC3E}">
        <p14:creationId xmlns:p14="http://schemas.microsoft.com/office/powerpoint/2010/main" val="2459243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Contenido_ Título lar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76A04C-6582-48CA-B4EC-C10FB1FF5FF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4" name="Object 3" hidden="1">
                        <a:extLst>
                          <a:ext uri="{FF2B5EF4-FFF2-40B4-BE49-F238E27FC236}">
                            <a16:creationId xmlns:a16="http://schemas.microsoft.com/office/drawing/2014/main" id="{8B76A04C-6582-48CA-B4EC-C10FB1FF5F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16">
            <a:extLst>
              <a:ext uri="{FF2B5EF4-FFF2-40B4-BE49-F238E27FC236}">
                <a16:creationId xmlns:a16="http://schemas.microsoft.com/office/drawing/2014/main" id="{BB75FDC6-4DA5-4863-9C79-1F3EBC749468}"/>
              </a:ext>
            </a:extLst>
          </p:cNvPr>
          <p:cNvSpPr>
            <a:spLocks noGrp="1"/>
          </p:cNvSpPr>
          <p:nvPr>
            <p:ph type="body" sz="quarter" idx="13" hasCustomPrompt="1"/>
          </p:nvPr>
        </p:nvSpPr>
        <p:spPr>
          <a:xfrm>
            <a:off x="525657" y="479745"/>
            <a:ext cx="11320907" cy="396000"/>
          </a:xfrm>
          <a:prstGeom prst="rect">
            <a:avLst/>
          </a:prstGeom>
        </p:spPr>
        <p:txBody>
          <a:bodyPr/>
          <a:lstStyle>
            <a:lvl1pPr marL="0" indent="0">
              <a:buNone/>
              <a:defRPr lang="es-MX" sz="2000" dirty="0">
                <a:gradFill flip="none" rotWithShape="1">
                  <a:gsLst>
                    <a:gs pos="0">
                      <a:srgbClr val="FF3306"/>
                    </a:gs>
                    <a:gs pos="100000">
                      <a:srgbClr val="FF7B5D"/>
                    </a:gs>
                  </a:gsLst>
                  <a:lin ang="8400000" scaled="0"/>
                  <a:tileRect/>
                </a:gradFill>
                <a:latin typeface="Open Sans Bold" panose="020B0806030504020204" pitchFamily="34" charset="0"/>
                <a:ea typeface="Open Sans Bold" panose="020B0806030504020204" pitchFamily="34" charset="0"/>
                <a:cs typeface="Open Sans Bold" panose="020B0806030504020204" pitchFamily="34" charset="0"/>
              </a:defRPr>
            </a:lvl1pPr>
          </a:lstStyle>
          <a:p>
            <a:pPr marL="228600" lvl="0" indent="-228600">
              <a:spcBef>
                <a:spcPts val="600"/>
              </a:spcBef>
            </a:pPr>
            <a:r>
              <a:rPr lang="es-MX"/>
              <a:t>CLICK TO EDIT MASTER TEXT STYLES</a:t>
            </a:r>
          </a:p>
        </p:txBody>
      </p:sp>
      <p:sp>
        <p:nvSpPr>
          <p:cNvPr id="8" name="Slide Number Placeholder 16">
            <a:extLst>
              <a:ext uri="{FF2B5EF4-FFF2-40B4-BE49-F238E27FC236}">
                <a16:creationId xmlns:a16="http://schemas.microsoft.com/office/drawing/2014/main" id="{78E78403-9366-3BFC-8A24-D0ABA9D85982}"/>
              </a:ext>
            </a:extLst>
          </p:cNvPr>
          <p:cNvSpPr>
            <a:spLocks noGrp="1"/>
          </p:cNvSpPr>
          <p:nvPr>
            <p:ph type="sldNum" sz="quarter" idx="20"/>
          </p:nvPr>
        </p:nvSpPr>
        <p:spPr>
          <a:xfrm>
            <a:off x="11547762" y="6356350"/>
            <a:ext cx="374072" cy="365125"/>
          </a:xfrm>
        </p:spPr>
        <p:txBody>
          <a:bodyPr/>
          <a:lstStyle>
            <a:lvl1pPr>
              <a:defRPr>
                <a:solidFill>
                  <a:schemeClr val="accent2"/>
                </a:solidFill>
              </a:defRPr>
            </a:lvl1pPr>
          </a:lstStyle>
          <a:p>
            <a:fld id="{54CD5EE6-B07D-46D8-B98F-6FBF37506E8E}" type="slidenum">
              <a:rPr lang="en-US" smtClean="0"/>
              <a:pPr/>
              <a:t>‹Nº›</a:t>
            </a:fld>
            <a:endParaRPr lang="en-US"/>
          </a:p>
        </p:txBody>
      </p:sp>
      <p:sp>
        <p:nvSpPr>
          <p:cNvPr id="5" name="Text Placeholder 13">
            <a:extLst>
              <a:ext uri="{FF2B5EF4-FFF2-40B4-BE49-F238E27FC236}">
                <a16:creationId xmlns:a16="http://schemas.microsoft.com/office/drawing/2014/main" id="{AF247844-469D-86C5-FE1E-2A1E0CA3A46C}"/>
              </a:ext>
            </a:extLst>
          </p:cNvPr>
          <p:cNvSpPr>
            <a:spLocks noGrp="1"/>
          </p:cNvSpPr>
          <p:nvPr>
            <p:ph type="body" sz="quarter" idx="14"/>
          </p:nvPr>
        </p:nvSpPr>
        <p:spPr>
          <a:xfrm>
            <a:off x="525656" y="1630661"/>
            <a:ext cx="11320907" cy="298287"/>
          </a:xfrm>
          <a:prstGeom prst="rect">
            <a:avLst/>
          </a:prstGeom>
        </p:spPr>
        <p:txBody>
          <a:bodyPr wrap="square">
            <a:spAutoFit/>
          </a:bodyPr>
          <a:lstStyle>
            <a:lvl1pPr marL="0" indent="0">
              <a:lnSpc>
                <a:spcPct val="120000"/>
              </a:lnSpc>
              <a:spcBef>
                <a:spcPts val="600"/>
              </a:spcBef>
              <a:spcAft>
                <a:spcPts val="600"/>
              </a:spcAft>
              <a:buNone/>
              <a:defRPr kumimoji="0" lang="es-419" sz="1200" b="0" i="0" u="none" strike="noStrike" kern="1200" cap="none" spc="0" normalizeH="0" baseline="0" noProof="0" dirty="0">
                <a:ln>
                  <a:noFill/>
                </a:ln>
                <a:solidFill>
                  <a:srgbClr val="3F5073"/>
                </a:solidFill>
                <a:effectLst/>
                <a:uLnTx/>
                <a:uFillTx/>
                <a:latin typeface="Open Sans Light"/>
                <a:ea typeface="Open Sans"/>
                <a:cs typeface="Open Sans"/>
              </a:defRPr>
            </a:lvl1pPr>
          </a:lstStyle>
          <a:p>
            <a:pPr lvl="0"/>
            <a:endParaRPr lang="es-419" noProof="0"/>
          </a:p>
        </p:txBody>
      </p:sp>
    </p:spTree>
    <p:extLst>
      <p:ext uri="{BB962C8B-B14F-4D97-AF65-F5344CB8AC3E}">
        <p14:creationId xmlns:p14="http://schemas.microsoft.com/office/powerpoint/2010/main" val="1730058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ontenido_ Título lar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76A04C-6582-48CA-B4EC-C10FB1FF5FF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4" name="Object 3" hidden="1">
                        <a:extLst>
                          <a:ext uri="{FF2B5EF4-FFF2-40B4-BE49-F238E27FC236}">
                            <a16:creationId xmlns:a16="http://schemas.microsoft.com/office/drawing/2014/main" id="{8B76A04C-6582-48CA-B4EC-C10FB1FF5F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16">
            <a:extLst>
              <a:ext uri="{FF2B5EF4-FFF2-40B4-BE49-F238E27FC236}">
                <a16:creationId xmlns:a16="http://schemas.microsoft.com/office/drawing/2014/main" id="{BB75FDC6-4DA5-4863-9C79-1F3EBC749468}"/>
              </a:ext>
            </a:extLst>
          </p:cNvPr>
          <p:cNvSpPr>
            <a:spLocks noGrp="1"/>
          </p:cNvSpPr>
          <p:nvPr>
            <p:ph type="body" sz="quarter" idx="13" hasCustomPrompt="1"/>
          </p:nvPr>
        </p:nvSpPr>
        <p:spPr>
          <a:xfrm>
            <a:off x="525657" y="479745"/>
            <a:ext cx="11320907" cy="396000"/>
          </a:xfrm>
          <a:prstGeom prst="rect">
            <a:avLst/>
          </a:prstGeom>
        </p:spPr>
        <p:txBody>
          <a:bodyPr>
            <a:noAutofit/>
          </a:bodyPr>
          <a:lstStyle>
            <a:lvl1pPr marL="0" indent="0">
              <a:buNone/>
              <a:defRPr lang="es-MX" sz="2000" dirty="0">
                <a:gradFill flip="none" rotWithShape="1">
                  <a:gsLst>
                    <a:gs pos="0">
                      <a:srgbClr val="FF3306"/>
                    </a:gs>
                    <a:gs pos="100000">
                      <a:srgbClr val="FF7B5D"/>
                    </a:gs>
                  </a:gsLst>
                  <a:lin ang="8400000" scaled="0"/>
                  <a:tileRect/>
                </a:gra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pPr marL="228600" lvl="0" indent="-228600">
              <a:spcBef>
                <a:spcPts val="600"/>
              </a:spcBef>
            </a:pPr>
            <a:r>
              <a:rPr lang="es-MX"/>
              <a:t>CLICK TO EDIT MASTER TEXT STYLES</a:t>
            </a:r>
          </a:p>
        </p:txBody>
      </p:sp>
      <p:sp>
        <p:nvSpPr>
          <p:cNvPr id="8" name="Slide Number Placeholder 16">
            <a:extLst>
              <a:ext uri="{FF2B5EF4-FFF2-40B4-BE49-F238E27FC236}">
                <a16:creationId xmlns:a16="http://schemas.microsoft.com/office/drawing/2014/main" id="{78E78403-9366-3BFC-8A24-D0ABA9D85982}"/>
              </a:ext>
            </a:extLst>
          </p:cNvPr>
          <p:cNvSpPr>
            <a:spLocks noGrp="1"/>
          </p:cNvSpPr>
          <p:nvPr>
            <p:ph type="sldNum" sz="quarter" idx="20"/>
          </p:nvPr>
        </p:nvSpPr>
        <p:spPr>
          <a:xfrm>
            <a:off x="11547762" y="6356350"/>
            <a:ext cx="374072" cy="365125"/>
          </a:xfrm>
        </p:spPr>
        <p:txBody>
          <a:bodyPr/>
          <a:lstStyle>
            <a:lvl1pPr>
              <a:defRPr>
                <a:solidFill>
                  <a:schemeClr val="accent2"/>
                </a:solidFill>
              </a:defRPr>
            </a:lvl1pPr>
          </a:lstStyle>
          <a:p>
            <a:fld id="{54CD5EE6-B07D-46D8-B98F-6FBF37506E8E}" type="slidenum">
              <a:rPr lang="en-US" smtClean="0"/>
              <a:pPr/>
              <a:t>‹Nº›</a:t>
            </a:fld>
            <a:endParaRPr lang="en-US"/>
          </a:p>
        </p:txBody>
      </p:sp>
      <p:sp>
        <p:nvSpPr>
          <p:cNvPr id="2" name="Text Placeholder 13">
            <a:extLst>
              <a:ext uri="{FF2B5EF4-FFF2-40B4-BE49-F238E27FC236}">
                <a16:creationId xmlns:a16="http://schemas.microsoft.com/office/drawing/2014/main" id="{B24441AA-7693-6AD3-82D8-7439C63A4F23}"/>
              </a:ext>
            </a:extLst>
          </p:cNvPr>
          <p:cNvSpPr>
            <a:spLocks noGrp="1"/>
          </p:cNvSpPr>
          <p:nvPr>
            <p:ph type="body" sz="quarter" idx="21"/>
          </p:nvPr>
        </p:nvSpPr>
        <p:spPr>
          <a:xfrm>
            <a:off x="525656" y="1186016"/>
            <a:ext cx="11320907" cy="298287"/>
          </a:xfrm>
          <a:prstGeom prst="rect">
            <a:avLst/>
          </a:prstGeom>
        </p:spPr>
        <p:txBody>
          <a:bodyPr wrap="square">
            <a:spAutoFit/>
          </a:bodyPr>
          <a:lstStyle>
            <a:lvl1pPr marL="0" indent="0">
              <a:lnSpc>
                <a:spcPct val="120000"/>
              </a:lnSpc>
              <a:spcBef>
                <a:spcPts val="600"/>
              </a:spcBef>
              <a:spcAft>
                <a:spcPts val="600"/>
              </a:spcAft>
              <a:buNone/>
              <a:defRPr kumimoji="0" lang="es-419" sz="1200" b="0" i="0" u="none" strike="noStrike" kern="1200" cap="none" spc="0" normalizeH="0" baseline="0" noProof="0" dirty="0">
                <a:ln>
                  <a:noFill/>
                </a:ln>
                <a:solidFill>
                  <a:srgbClr val="3F5073"/>
                </a:solidFill>
                <a:effectLst/>
                <a:uLnTx/>
                <a:uFillTx/>
                <a:latin typeface="Open Sans Light"/>
                <a:ea typeface="Open Sans"/>
                <a:cs typeface="Open Sans"/>
              </a:defRPr>
            </a:lvl1pPr>
          </a:lstStyle>
          <a:p>
            <a:pPr lvl="0"/>
            <a:endParaRPr lang="es-419" noProof="0"/>
          </a:p>
        </p:txBody>
      </p:sp>
    </p:spTree>
    <p:extLst>
      <p:ext uri="{BB962C8B-B14F-4D97-AF65-F5344CB8AC3E}">
        <p14:creationId xmlns:p14="http://schemas.microsoft.com/office/powerpoint/2010/main" val="1760115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l Buen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76A04C-6582-48CA-B4EC-C10FB1FF5FF4}"/>
              </a:ext>
            </a:extLst>
          </p:cNvPr>
          <p:cNvGraphicFramePr>
            <a:graphicFrameLocks noChangeAspect="1"/>
          </p:cNvGraphicFramePr>
          <p:nvPr userDrawn="1">
            <p:custDataLst>
              <p:tags r:id="rId1"/>
            </p:custDataLst>
            <p:extLst>
              <p:ext uri="{D42A27DB-BD31-4B8C-83A1-F6EECF244321}">
                <p14:modId xmlns:p14="http://schemas.microsoft.com/office/powerpoint/2010/main" val="100760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4" name="Object 3" hidden="1">
                        <a:extLst>
                          <a:ext uri="{FF2B5EF4-FFF2-40B4-BE49-F238E27FC236}">
                            <a16:creationId xmlns:a16="http://schemas.microsoft.com/office/drawing/2014/main" id="{8B76A04C-6582-48CA-B4EC-C10FB1FF5F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16">
            <a:extLst>
              <a:ext uri="{FF2B5EF4-FFF2-40B4-BE49-F238E27FC236}">
                <a16:creationId xmlns:a16="http://schemas.microsoft.com/office/drawing/2014/main" id="{BB75FDC6-4DA5-4863-9C79-1F3EBC749468}"/>
              </a:ext>
            </a:extLst>
          </p:cNvPr>
          <p:cNvSpPr>
            <a:spLocks noGrp="1"/>
          </p:cNvSpPr>
          <p:nvPr>
            <p:ph type="body" sz="quarter" idx="13" hasCustomPrompt="1"/>
          </p:nvPr>
        </p:nvSpPr>
        <p:spPr>
          <a:xfrm>
            <a:off x="525657" y="701849"/>
            <a:ext cx="11320907" cy="396000"/>
          </a:xfrm>
          <a:prstGeom prst="rect">
            <a:avLst/>
          </a:prstGeom>
        </p:spPr>
        <p:txBody>
          <a:bodyPr lIns="0" rIns="0"/>
          <a:lstStyle>
            <a:lvl1pPr marL="0" indent="0" rtl="0">
              <a:spcBef>
                <a:spcPts val="0"/>
              </a:spcBef>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CLICK TO EDIT MASTER TEXT STYLES</a:t>
            </a:r>
          </a:p>
        </p:txBody>
      </p:sp>
      <p:sp>
        <p:nvSpPr>
          <p:cNvPr id="8" name="Text Placeholder 16">
            <a:extLst>
              <a:ext uri="{FF2B5EF4-FFF2-40B4-BE49-F238E27FC236}">
                <a16:creationId xmlns:a16="http://schemas.microsoft.com/office/drawing/2014/main" id="{A2FE030F-99A1-4B15-B1CE-D7C04A81C62E}"/>
              </a:ext>
            </a:extLst>
          </p:cNvPr>
          <p:cNvSpPr>
            <a:spLocks noGrp="1"/>
          </p:cNvSpPr>
          <p:nvPr>
            <p:ph type="body" sz="quarter" idx="14" hasCustomPrompt="1"/>
          </p:nvPr>
        </p:nvSpPr>
        <p:spPr>
          <a:xfrm>
            <a:off x="1116662" y="6458784"/>
            <a:ext cx="3600000" cy="180000"/>
          </a:xfrm>
          <a:prstGeom prst="rect">
            <a:avLst/>
          </a:prstGeom>
        </p:spPr>
        <p:txBody>
          <a:bodyPr lIns="0" rIns="0"/>
          <a:lstStyle>
            <a:lvl1pPr marL="0" indent="0" rtl="0">
              <a:spcBef>
                <a:spcPts val="0"/>
              </a:spcBef>
              <a:buNone/>
              <a:defRPr sz="10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CLICK TO EDIT MASTER TEXT STYLES</a:t>
            </a:r>
          </a:p>
        </p:txBody>
      </p:sp>
      <p:sp>
        <p:nvSpPr>
          <p:cNvPr id="12" name="Text Placeholder 16">
            <a:extLst>
              <a:ext uri="{FF2B5EF4-FFF2-40B4-BE49-F238E27FC236}">
                <a16:creationId xmlns:a16="http://schemas.microsoft.com/office/drawing/2014/main" id="{19BE6CC5-CEA3-46AC-806C-A2EB057A9578}"/>
              </a:ext>
            </a:extLst>
          </p:cNvPr>
          <p:cNvSpPr>
            <a:spLocks noGrp="1"/>
          </p:cNvSpPr>
          <p:nvPr>
            <p:ph type="body" sz="quarter" idx="16" hasCustomPrompt="1"/>
          </p:nvPr>
        </p:nvSpPr>
        <p:spPr>
          <a:xfrm>
            <a:off x="530769" y="196840"/>
            <a:ext cx="3600000" cy="180000"/>
          </a:xfrm>
          <a:prstGeom prst="rect">
            <a:avLst/>
          </a:prstGeom>
        </p:spPr>
        <p:txBody>
          <a:bodyPr lIns="0" rIns="0"/>
          <a:lstStyle>
            <a:lvl1pPr marL="0" indent="0" rtl="0">
              <a:spcBef>
                <a:spcPts val="0"/>
              </a:spcBef>
              <a:buNone/>
              <a:defRPr sz="10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a:solidFill>
                  <a:srgbClr val="002060"/>
                </a:solidFill>
                <a:latin typeface="Open Sans SemiBold"/>
                <a:ea typeface="Open Sans SemiBold"/>
                <a:cs typeface="Open Sans SemiBold"/>
              </a:rPr>
              <a:t>STRATIS |</a:t>
            </a:r>
            <a:r>
              <a:rPr lang="es-ES">
                <a:latin typeface="Open Sans SemiBold"/>
                <a:ea typeface="Open Sans SemiBold"/>
                <a:cs typeface="Open Sans SemiBold"/>
              </a:rPr>
              <a:t> AUTOMATION PROPOSAL</a:t>
            </a:r>
          </a:p>
          <a:p>
            <a:pPr lvl="0"/>
            <a:endParaRPr lang="en-US"/>
          </a:p>
        </p:txBody>
      </p:sp>
      <p:sp>
        <p:nvSpPr>
          <p:cNvPr id="2" name="Slide Number Placeholder 1">
            <a:extLst>
              <a:ext uri="{FF2B5EF4-FFF2-40B4-BE49-F238E27FC236}">
                <a16:creationId xmlns:a16="http://schemas.microsoft.com/office/drawing/2014/main" id="{E4FF9059-29BA-451E-A7DD-CD1DE643AC07}"/>
              </a:ext>
            </a:extLst>
          </p:cNvPr>
          <p:cNvSpPr>
            <a:spLocks noGrp="1"/>
          </p:cNvSpPr>
          <p:nvPr>
            <p:ph type="sldNum" sz="quarter" idx="17"/>
          </p:nvPr>
        </p:nvSpPr>
        <p:spPr/>
        <p:txBody>
          <a:bodyPr/>
          <a:lstStyle>
            <a:lvl1pPr rtl="0">
              <a:defRPr/>
            </a:lvl1pPr>
          </a:lstStyle>
          <a:p>
            <a:fld id="{054046B9-8952-49E0-946E-EA77F7080F6D}" type="slidenum">
              <a:rPr lang="en-US" smtClean="0"/>
              <a:pPr/>
              <a:t>‹Nº›</a:t>
            </a:fld>
            <a:endParaRPr lang="en-US"/>
          </a:p>
        </p:txBody>
      </p:sp>
    </p:spTree>
    <p:extLst>
      <p:ext uri="{BB962C8B-B14F-4D97-AF65-F5344CB8AC3E}">
        <p14:creationId xmlns:p14="http://schemas.microsoft.com/office/powerpoint/2010/main" val="237108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8135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179972-72FA-85AC-02C3-E0C7BC9BEF28}"/>
              </a:ext>
            </a:extLst>
          </p:cNvPr>
          <p:cNvGraphicFramePr>
            <a:graphicFrameLocks noChangeAspect="1"/>
          </p:cNvGraphicFramePr>
          <p:nvPr userDrawn="1">
            <p:custDataLst>
              <p:tags r:id="rId10"/>
            </p:custDataLst>
            <p:extLst>
              <p:ext uri="{D42A27DB-BD31-4B8C-83A1-F6EECF244321}">
                <p14:modId xmlns:p14="http://schemas.microsoft.com/office/powerpoint/2010/main" val="334630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8" name="think-cell data - do not delete" hidden="1">
                        <a:extLst>
                          <a:ext uri="{FF2B5EF4-FFF2-40B4-BE49-F238E27FC236}">
                            <a16:creationId xmlns:a16="http://schemas.microsoft.com/office/drawing/2014/main" id="{41179972-72FA-85AC-02C3-E0C7BC9BEF2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F1556C4-DFC3-4611-A7CC-780699185E26}" type="slidenum">
              <a:rPr lang="es-ES" smtClean="0"/>
              <a:t>‹Nº›</a:t>
            </a:fld>
            <a:endParaRPr lang="es-ES"/>
          </a:p>
        </p:txBody>
      </p:sp>
    </p:spTree>
    <p:extLst>
      <p:ext uri="{BB962C8B-B14F-4D97-AF65-F5344CB8AC3E}">
        <p14:creationId xmlns:p14="http://schemas.microsoft.com/office/powerpoint/2010/main" val="2933118997"/>
      </p:ext>
    </p:extLst>
  </p:cSld>
  <p:clrMap bg1="lt1" tx1="dk1" bg2="lt2" tx2="dk2" accent1="accent1" accent2="accent2" accent3="accent3" accent4="accent4" accent5="accent5" accent6="accent6" hlink="hlink" folHlink="folHlink"/>
  <p:sldLayoutIdLst>
    <p:sldLayoutId id="2147483650" r:id="rId1"/>
    <p:sldLayoutId id="2147483660" r:id="rId2"/>
    <p:sldLayoutId id="2147483661" r:id="rId3"/>
    <p:sldLayoutId id="2147483725" r:id="rId4"/>
    <p:sldLayoutId id="2147483727" r:id="rId5"/>
    <p:sldLayoutId id="2147483728" r:id="rId6"/>
    <p:sldLayoutId id="2147483733" r:id="rId7"/>
    <p:sldLayoutId id="2147483735"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4.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8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8.emf"/><Relationship Id="rId5" Type="http://schemas.openxmlformats.org/officeDocument/2006/relationships/oleObject" Target="../embeddings/oleObject6.bin"/><Relationship Id="rId10" Type="http://schemas.openxmlformats.org/officeDocument/2006/relationships/image" Target="../media/image12.png"/><Relationship Id="rId4" Type="http://schemas.openxmlformats.org/officeDocument/2006/relationships/image" Target="../media/image7.png"/><Relationship Id="rId9" Type="http://schemas.openxmlformats.org/officeDocument/2006/relationships/image" Target="../media/image11.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4.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6.xml"/><Relationship Id="rId7"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19.svg"/><Relationship Id="rId4" Type="http://schemas.openxmlformats.org/officeDocument/2006/relationships/image" Target="../media/image15.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13" Type="http://schemas.openxmlformats.org/officeDocument/2006/relationships/image" Target="../media/image26.svg"/><Relationship Id="rId18" Type="http://schemas.openxmlformats.org/officeDocument/2006/relationships/image" Target="../media/image31.png"/><Relationship Id="rId26" Type="http://schemas.openxmlformats.org/officeDocument/2006/relationships/image" Target="../media/image39.svg"/><Relationship Id="rId3" Type="http://schemas.openxmlformats.org/officeDocument/2006/relationships/tags" Target="../tags/tag13.xml"/><Relationship Id="rId21" Type="http://schemas.openxmlformats.org/officeDocument/2006/relationships/image" Target="../media/image34.svg"/><Relationship Id="rId34" Type="http://schemas.openxmlformats.org/officeDocument/2006/relationships/image" Target="../media/image47.svg"/><Relationship Id="rId7" Type="http://schemas.openxmlformats.org/officeDocument/2006/relationships/image" Target="../media/image22.png"/><Relationship Id="rId12" Type="http://schemas.openxmlformats.org/officeDocument/2006/relationships/image" Target="../media/image25.png"/><Relationship Id="rId17" Type="http://schemas.openxmlformats.org/officeDocument/2006/relationships/image" Target="../media/image30.svg"/><Relationship Id="rId25" Type="http://schemas.openxmlformats.org/officeDocument/2006/relationships/image" Target="../media/image38.png"/><Relationship Id="rId33" Type="http://schemas.openxmlformats.org/officeDocument/2006/relationships/image" Target="../media/image46.png"/><Relationship Id="rId2" Type="http://schemas.openxmlformats.org/officeDocument/2006/relationships/tags" Target="../tags/tag12.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tags" Target="../tags/tag11.xml"/><Relationship Id="rId6" Type="http://schemas.openxmlformats.org/officeDocument/2006/relationships/image" Target="../media/image21.png"/><Relationship Id="rId11" Type="http://schemas.openxmlformats.org/officeDocument/2006/relationships/image" Target="../media/image24.svg"/><Relationship Id="rId24" Type="http://schemas.openxmlformats.org/officeDocument/2006/relationships/image" Target="../media/image37.png"/><Relationship Id="rId32" Type="http://schemas.openxmlformats.org/officeDocument/2006/relationships/image" Target="../media/image45.png"/><Relationship Id="rId5" Type="http://schemas.openxmlformats.org/officeDocument/2006/relationships/notesSlide" Target="../notesSlides/notesSlide7.xml"/><Relationship Id="rId15" Type="http://schemas.openxmlformats.org/officeDocument/2006/relationships/image" Target="../media/image28.svg"/><Relationship Id="rId23" Type="http://schemas.openxmlformats.org/officeDocument/2006/relationships/image" Target="../media/image36.svg"/><Relationship Id="rId28" Type="http://schemas.openxmlformats.org/officeDocument/2006/relationships/image" Target="../media/image41.svg"/><Relationship Id="rId36" Type="http://schemas.openxmlformats.org/officeDocument/2006/relationships/image" Target="../media/image49.svg"/><Relationship Id="rId10" Type="http://schemas.openxmlformats.org/officeDocument/2006/relationships/image" Target="../media/image23.png"/><Relationship Id="rId19" Type="http://schemas.openxmlformats.org/officeDocument/2006/relationships/image" Target="../media/image32.svg"/><Relationship Id="rId31" Type="http://schemas.openxmlformats.org/officeDocument/2006/relationships/image" Target="../media/image44.png"/><Relationship Id="rId4" Type="http://schemas.openxmlformats.org/officeDocument/2006/relationships/slideLayout" Target="../slideLayouts/slideLayout5.xml"/><Relationship Id="rId9" Type="http://schemas.openxmlformats.org/officeDocument/2006/relationships/image" Target="../media/image1.emf"/><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svg"/><Relationship Id="rId35" Type="http://schemas.openxmlformats.org/officeDocument/2006/relationships/image" Target="../media/image48.png"/><Relationship Id="rId8"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1.svg"/><Relationship Id="rId26" Type="http://schemas.openxmlformats.org/officeDocument/2006/relationships/image" Target="../media/image69.svg"/><Relationship Id="rId39" Type="http://schemas.openxmlformats.org/officeDocument/2006/relationships/image" Target="../media/image44.png"/><Relationship Id="rId21" Type="http://schemas.openxmlformats.org/officeDocument/2006/relationships/image" Target="../media/image64.png"/><Relationship Id="rId34" Type="http://schemas.openxmlformats.org/officeDocument/2006/relationships/image" Target="../media/image77.sv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81.png"/><Relationship Id="rId2" Type="http://schemas.openxmlformats.org/officeDocument/2006/relationships/slideLayout" Target="../slideLayouts/slideLayout6.xml"/><Relationship Id="rId16" Type="http://schemas.openxmlformats.org/officeDocument/2006/relationships/image" Target="../media/image59.svg"/><Relationship Id="rId20" Type="http://schemas.openxmlformats.org/officeDocument/2006/relationships/image" Target="../media/image63.svg"/><Relationship Id="rId29" Type="http://schemas.openxmlformats.org/officeDocument/2006/relationships/image" Target="../media/image72.png"/><Relationship Id="rId1" Type="http://schemas.openxmlformats.org/officeDocument/2006/relationships/tags" Target="../tags/tag14.xml"/><Relationship Id="rId6" Type="http://schemas.openxmlformats.org/officeDocument/2006/relationships/image" Target="../media/image8.emf"/><Relationship Id="rId11" Type="http://schemas.openxmlformats.org/officeDocument/2006/relationships/image" Target="../media/image54.png"/><Relationship Id="rId24" Type="http://schemas.openxmlformats.org/officeDocument/2006/relationships/image" Target="../media/image67.svg"/><Relationship Id="rId32" Type="http://schemas.openxmlformats.org/officeDocument/2006/relationships/image" Target="../media/image75.svg"/><Relationship Id="rId37" Type="http://schemas.openxmlformats.org/officeDocument/2006/relationships/image" Target="../media/image80.png"/><Relationship Id="rId5" Type="http://schemas.openxmlformats.org/officeDocument/2006/relationships/oleObject" Target="../embeddings/oleObject11.bin"/><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svg"/><Relationship Id="rId36" Type="http://schemas.openxmlformats.org/officeDocument/2006/relationships/image" Target="../media/image79.svg"/><Relationship Id="rId10" Type="http://schemas.openxmlformats.org/officeDocument/2006/relationships/image" Target="../media/image53.svg"/><Relationship Id="rId19" Type="http://schemas.openxmlformats.org/officeDocument/2006/relationships/image" Target="../media/image62.png"/><Relationship Id="rId31" Type="http://schemas.openxmlformats.org/officeDocument/2006/relationships/image" Target="../media/image74.png"/><Relationship Id="rId4" Type="http://schemas.openxmlformats.org/officeDocument/2006/relationships/image" Target="../media/image15.png"/><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 Id="rId27" Type="http://schemas.openxmlformats.org/officeDocument/2006/relationships/image" Target="../media/image70.png"/><Relationship Id="rId30" Type="http://schemas.openxmlformats.org/officeDocument/2006/relationships/image" Target="../media/image73.svg"/><Relationship Id="rId35" Type="http://schemas.openxmlformats.org/officeDocument/2006/relationships/image" Target="../media/image78.png"/><Relationship Id="rId8" Type="http://schemas.openxmlformats.org/officeDocument/2006/relationships/image" Target="../media/image51.svg"/><Relationship Id="rId3"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8633A56-0F7E-6DF7-DA6E-7F39E8D97C72}"/>
              </a:ext>
            </a:extLst>
          </p:cNvPr>
          <p:cNvSpPr>
            <a:spLocks noGrp="1"/>
          </p:cNvSpPr>
          <p:nvPr>
            <p:ph type="body" sz="quarter" idx="10"/>
          </p:nvPr>
        </p:nvSpPr>
        <p:spPr>
          <a:xfrm>
            <a:off x="616384" y="4433309"/>
            <a:ext cx="6816803" cy="700686"/>
          </a:xfrm>
        </p:spPr>
        <p:txBody>
          <a:bodyPr/>
          <a:lstStyle/>
          <a:p>
            <a:r>
              <a:rPr lang="en-US" sz="2800">
                <a:latin typeface="Open Sans SemiBold"/>
                <a:ea typeface="Open Sans SemiBold"/>
                <a:cs typeface="Open Sans SemiBold"/>
              </a:rPr>
              <a:t>Stratis Tech Nearshoring Services</a:t>
            </a:r>
            <a:endParaRPr lang="es-ES" sz="2800">
              <a:latin typeface="Open Sans SemiBold" panose="020B0706030804020204" pitchFamily="34" charset="0"/>
              <a:ea typeface="Open Sans SemiBold" panose="020B0706030804020204" pitchFamily="34" charset="0"/>
              <a:cs typeface="Open Sans SemiBold" panose="020B0706030804020204" pitchFamily="34" charset="0"/>
            </a:endParaRPr>
          </a:p>
          <a:p>
            <a:r>
              <a:rPr lang="en-US">
                <a:latin typeface="Open Sans SemiBold"/>
                <a:ea typeface="Open Sans SemiBold"/>
                <a:cs typeface="Open Sans SemiBold"/>
              </a:rPr>
              <a:t>QA Management Capabilities</a:t>
            </a:r>
            <a:endParaRPr lang="es-ES" sz="2800">
              <a:latin typeface="Open Sans SemiBold"/>
              <a:ea typeface="Open Sans SemiBold"/>
              <a:cs typeface="Open Sans SemiBold"/>
            </a:endParaRPr>
          </a:p>
        </p:txBody>
      </p:sp>
      <p:sp>
        <p:nvSpPr>
          <p:cNvPr id="5" name="Text Placeholder 4">
            <a:extLst>
              <a:ext uri="{FF2B5EF4-FFF2-40B4-BE49-F238E27FC236}">
                <a16:creationId xmlns:a16="http://schemas.microsoft.com/office/drawing/2014/main" id="{1A537C96-0974-5072-EBA9-CEBE6929A9AB}"/>
              </a:ext>
            </a:extLst>
          </p:cNvPr>
          <p:cNvSpPr>
            <a:spLocks noGrp="1"/>
          </p:cNvSpPr>
          <p:nvPr>
            <p:ph type="body" sz="quarter" idx="11"/>
          </p:nvPr>
        </p:nvSpPr>
        <p:spPr>
          <a:xfrm>
            <a:off x="2141552" y="6343012"/>
            <a:ext cx="7908897" cy="369332"/>
          </a:xfrm>
        </p:spPr>
        <p:txBody>
          <a:bodyPr vert="horz" wrap="square" lIns="91440" tIns="45720" rIns="91440" bIns="45720" rtlCol="0" anchor="t">
            <a:spAutoFit/>
          </a:bodyPr>
          <a:lstStyle/>
          <a:p>
            <a:pPr algn="ctr">
              <a:lnSpc>
                <a:spcPct val="100000"/>
              </a:lnSpc>
              <a:spcBef>
                <a:spcPts val="300"/>
              </a:spcBef>
              <a:spcAft>
                <a:spcPts val="300"/>
              </a:spcAft>
            </a:pPr>
            <a:r>
              <a:rPr lang="en-US" sz="900"/>
              <a:t>Strategic Impact Solutions, proprietary and confidential for the exclusive use of Strategic Impact Solutions evaluation services for Citizens Bank. The use and reproduction of this material requires the written authorization of Strategic Impact Solutions</a:t>
            </a:r>
            <a:r>
              <a:rPr lang="en-US" sz="900">
                <a:latin typeface="Open Sans"/>
                <a:ea typeface="Open Sans"/>
                <a:cs typeface="Open Sans"/>
              </a:rPr>
              <a:t>.</a:t>
            </a:r>
          </a:p>
        </p:txBody>
      </p:sp>
      <p:sp>
        <p:nvSpPr>
          <p:cNvPr id="6" name="Text Placeholder 5">
            <a:extLst>
              <a:ext uri="{FF2B5EF4-FFF2-40B4-BE49-F238E27FC236}">
                <a16:creationId xmlns:a16="http://schemas.microsoft.com/office/drawing/2014/main" id="{0AD024A1-0A71-5F37-976F-A4B0E129E6AE}"/>
              </a:ext>
            </a:extLst>
          </p:cNvPr>
          <p:cNvSpPr>
            <a:spLocks noGrp="1"/>
          </p:cNvSpPr>
          <p:nvPr>
            <p:ph type="body" sz="quarter" idx="12"/>
          </p:nvPr>
        </p:nvSpPr>
        <p:spPr/>
        <p:txBody>
          <a:bodyPr vert="horz" lIns="91440" tIns="45720" rIns="91440" bIns="45720" rtlCol="0" anchor="t">
            <a:spAutoFit/>
          </a:bodyPr>
          <a:lstStyle/>
          <a:p>
            <a:r>
              <a:rPr lang="en-US">
                <a:solidFill>
                  <a:srgbClr val="F86F35"/>
                </a:solidFill>
                <a:latin typeface="Open Sans"/>
                <a:ea typeface="Open Sans"/>
                <a:cs typeface="Open Sans"/>
              </a:rPr>
              <a:t>March 2025</a:t>
            </a:r>
            <a:endParaRPr lang="es-ES">
              <a:solidFill>
                <a:srgbClr val="F86F35"/>
              </a:solidFill>
              <a:latin typeface="Open Sans"/>
              <a:ea typeface="Open Sans"/>
              <a:cs typeface="Open Sans"/>
            </a:endParaRPr>
          </a:p>
        </p:txBody>
      </p:sp>
      <p:sp>
        <p:nvSpPr>
          <p:cNvPr id="2" name="Text Placeholder 3">
            <a:extLst>
              <a:ext uri="{FF2B5EF4-FFF2-40B4-BE49-F238E27FC236}">
                <a16:creationId xmlns:a16="http://schemas.microsoft.com/office/drawing/2014/main" id="{CD674405-6959-7578-81C2-21FADA7EB30F}"/>
              </a:ext>
            </a:extLst>
          </p:cNvPr>
          <p:cNvSpPr txBox="1">
            <a:spLocks/>
          </p:cNvSpPr>
          <p:nvPr/>
        </p:nvSpPr>
        <p:spPr>
          <a:xfrm>
            <a:off x="616385" y="5298454"/>
            <a:ext cx="4385520" cy="338554"/>
          </a:xfrm>
          <a:prstGeom prst="rect">
            <a:avLst/>
          </a:prstGeom>
        </p:spPr>
        <p:txBody>
          <a:bodyPr vert="horz" wrap="square"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MX" sz="2000" err="1"/>
              <a:t>Citizens</a:t>
            </a:r>
            <a:r>
              <a:rPr lang="es-MX" sz="2000"/>
              <a:t> Bank</a:t>
            </a:r>
            <a:endParaRPr lang="es-ES" sz="2000"/>
          </a:p>
        </p:txBody>
      </p:sp>
    </p:spTree>
    <p:extLst>
      <p:ext uri="{BB962C8B-B14F-4D97-AF65-F5344CB8AC3E}">
        <p14:creationId xmlns:p14="http://schemas.microsoft.com/office/powerpoint/2010/main" val="2541855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uadroTexto 2"/>
          <p:cNvSpPr txBox="1"/>
          <p:nvPr/>
        </p:nvSpPr>
        <p:spPr>
          <a:xfrm>
            <a:off x="640054" y="4780965"/>
            <a:ext cx="10911892" cy="1877437"/>
          </a:xfrm>
          <a:prstGeom prst="rect">
            <a:avLst/>
          </a:prstGeom>
          <a:noFill/>
        </p:spPr>
        <p:txBody>
          <a:bodyPr wrap="square" rtlCol="0">
            <a:spAutoFit/>
          </a:bodyPr>
          <a:lstStyle/>
          <a:p>
            <a:pPr marL="171450" marR="0" lvl="0" indent="-171450" algn="just" defTabSz="914400" rtl="0" eaLnBrk="0" fontAlgn="base" latinLnBrk="0" hangingPunct="0">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Testing Environments Design: </a:t>
            </a:r>
            <a:r>
              <a:rPr kumimoji="0" lang="en-US" sz="900" b="0" i="0" u="none" strike="noStrike" kern="1200" cap="none" spc="0" normalizeH="0" baseline="0" noProof="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ue to the complexity of the the current IT ecosystem, its very important to design the Testing Platform baselibe, attending the appropriate computing capabilities needs: Design &amp; Validate all the computing capabilities like storage, CPU and memory to fullfill the Functional and Non functional test approach.</a:t>
            </a:r>
          </a:p>
          <a:p>
            <a:pPr marL="171450" marR="0" lvl="0" indent="-171450" algn="just" defTabSz="914400" rtl="0" eaLnBrk="0" fontAlgn="base" latinLnBrk="0" hangingPunct="0">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Dummy Banking Testing Data: </a:t>
            </a:r>
            <a:r>
              <a:rPr kumimoji="0" lang="en-US" sz="900" b="0" i="0" u="none" strike="noStrike" kern="1200" cap="none" spc="0" normalizeH="0" baseline="0" noProof="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re are several needs to generate data across all the ecosystem to support the Funcional and NFT reqs (CIF-Products-Accounts), balances, etc.</a:t>
            </a:r>
            <a:endParaRPr kumimoji="0" lang="en-US" sz="900" b="0"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Reconciliation Method : </a:t>
            </a:r>
            <a:r>
              <a:rPr kumimoji="0" lang="en-US" sz="900" b="1"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Confirm into the use cases that the systems already have the appropriate </a:t>
            </a:r>
            <a:r>
              <a:rPr kumimoji="0" lang="en-US" sz="900" b="0"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operational reconciliation models, including GL, etc,.</a:t>
            </a: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Transactional Integrity and Traceability: </a:t>
            </a:r>
            <a:r>
              <a:rPr kumimoji="0" lang="en-US" sz="900" b="0" i="0" u="none" strike="noStrike" kern="1200" cap="none" spc="0" normalizeH="0" baseline="0" noProof="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ustomize de environment and the Data to validate the E2E transactional and Data integrity and traceability.</a:t>
            </a: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Transaction Integrity: </a:t>
            </a:r>
            <a:r>
              <a:rPr kumimoji="0" lang="en-US" sz="900" b="0" i="0" u="none" strike="noStrike" kern="1200" cap="none" spc="0" normalizeH="0" baseline="0" noProof="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Legacy/Core systems do not consider rules depending if the satellite sends or receives monetary txns.</a:t>
            </a:r>
            <a:endParaRPr kumimoji="0" lang="en-US" sz="900" b="0"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Transaction massive operation:   </a:t>
            </a:r>
            <a:r>
              <a:rPr kumimoji="0" lang="en-US" sz="900" b="1"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NFT design – </a:t>
            </a:r>
            <a:r>
              <a:rPr kumimoji="0" lang="en-US" sz="900" b="0"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validating the overall capabilities to support high demand transactional requirements</a:t>
            </a: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File Transfer massive Operation: </a:t>
            </a:r>
            <a:r>
              <a:rPr kumimoji="0" lang="en-US" sz="900" b="0"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how to replicate the most important Files to execute the best File Test Cases.</a:t>
            </a:r>
          </a:p>
          <a:p>
            <a:pPr marL="171450" marR="0" lvl="0" indent="-17145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900" b="1" noProof="1">
                <a:solidFill>
                  <a:srgbClr val="3B43FB"/>
                </a:solidFill>
                <a:latin typeface="Open Sans" panose="020B0606030504020204" pitchFamily="34" charset="0"/>
                <a:ea typeface="Open Sans" panose="020B0606030504020204" pitchFamily="34" charset="0"/>
                <a:cs typeface="Open Sans" panose="020B0606030504020204" pitchFamily="34" charset="0"/>
              </a:rPr>
              <a:t>Data Life Cycle:  </a:t>
            </a:r>
            <a:r>
              <a:rPr kumimoji="0" lang="en-US" sz="900" b="1"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Overall </a:t>
            </a:r>
            <a:r>
              <a:rPr kumimoji="0" lang="en-US" sz="900" b="0" i="0" u="none" strike="noStrike" kern="1200" cap="none" spc="0" normalizeH="0" baseline="0" noProof="1">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rPr>
              <a:t>there are several needs to accomplish the data life cycle already defined by the Final users.</a:t>
            </a:r>
            <a:endParaRPr kumimoji="0" lang="en-US" sz="900" b="0" i="0" u="none" strike="noStrike" kern="1200" cap="none" spc="0" normalizeH="0" baseline="0" noProof="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Rectangle 75"/>
          <p:cNvSpPr/>
          <p:nvPr/>
        </p:nvSpPr>
        <p:spPr bwMode="auto">
          <a:xfrm>
            <a:off x="8009761" y="794272"/>
            <a:ext cx="3326957" cy="3816111"/>
          </a:xfrm>
          <a:prstGeom prst="roundRect">
            <a:avLst>
              <a:gd name="adj" fmla="val 5406"/>
            </a:avLst>
          </a:prstGeom>
          <a:solidFill>
            <a:srgbClr val="D7D8F0">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34" charset="0"/>
              <a:ea typeface="MS PGothic"/>
              <a:cs typeface="ＭＳ Ｐゴシック"/>
            </a:endParaRPr>
          </a:p>
        </p:txBody>
      </p:sp>
      <p:sp>
        <p:nvSpPr>
          <p:cNvPr id="101" name="Rectangle 75"/>
          <p:cNvSpPr/>
          <p:nvPr/>
        </p:nvSpPr>
        <p:spPr bwMode="auto">
          <a:xfrm>
            <a:off x="819150" y="820562"/>
            <a:ext cx="5937005" cy="3795883"/>
          </a:xfrm>
          <a:prstGeom prst="roundRect">
            <a:avLst>
              <a:gd name="adj" fmla="val 4957"/>
            </a:avLst>
          </a:prstGeom>
          <a:solidFill>
            <a:srgbClr val="FFEAE7"/>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TextBox 9"/>
          <p:cNvSpPr txBox="1"/>
          <p:nvPr/>
        </p:nvSpPr>
        <p:spPr>
          <a:xfrm>
            <a:off x="8409912" y="3547353"/>
            <a:ext cx="2557708" cy="466409"/>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18288" tIns="44375" rIns="18288" bIns="44375" numCol="1" spcCol="0" rtlCol="0" fromWordArt="0" anchor="t"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algn="ctr" defTabSz="887553" fontAlgn="base">
              <a:spcBef>
                <a:spcPct val="0"/>
              </a:spcBef>
              <a:spcAft>
                <a:spcPct val="0"/>
              </a:spcAft>
              <a:defRPr/>
            </a:pPr>
            <a:r>
              <a:rPr lang="en-US" sz="1200">
                <a:solidFill>
                  <a:srgbClr val="0111A2"/>
                </a:solidFill>
                <a:latin typeface="Open Sans Bold" panose="020B0806030504020204" pitchFamily="34" charset="0"/>
                <a:ea typeface="Open Sans Bold" panose="020B0806030504020204" pitchFamily="34" charset="0"/>
                <a:cs typeface="Open Sans Bold" panose="020B0806030504020204" pitchFamily="34" charset="0"/>
              </a:rPr>
              <a:t>Operational &amp; “Regulatory Reports”</a:t>
            </a:r>
          </a:p>
        </p:txBody>
      </p:sp>
      <p:sp>
        <p:nvSpPr>
          <p:cNvPr id="105" name="Rectangle 7"/>
          <p:cNvSpPr/>
          <p:nvPr/>
        </p:nvSpPr>
        <p:spPr bwMode="auto">
          <a:xfrm>
            <a:off x="3479827" y="1150560"/>
            <a:ext cx="1872118" cy="1924701"/>
          </a:xfrm>
          <a:prstGeom prst="rect">
            <a:avLst/>
          </a:prstGeom>
          <a:solidFill>
            <a:srgbClr val="F86F35"/>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t" anchorCtr="0" compatLnSpc="1">
            <a:prstTxWarp prst="textNoShape">
              <a:avLst/>
            </a:prstTxWarp>
          </a:bodyPr>
          <a:lstStyle/>
          <a:p>
            <a:pPr marL="0" marR="0" lvl="0" indent="0" algn="ctr" defTabSz="887553" rtl="0" eaLnBrk="0" fontAlgn="base" latinLnBrk="0" hangingPunct="0">
              <a:lnSpc>
                <a:spcPct val="10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a:ea typeface="MS PGothic"/>
              <a:cs typeface="ＭＳ Ｐゴシック"/>
            </a:endParaRPr>
          </a:p>
          <a:p>
            <a:pPr algn="ctr" defTabSz="887553" eaLnBrk="0" fontAlgn="base" hangingPunct="0">
              <a:spcBef>
                <a:spcPct val="0"/>
              </a:spcBef>
              <a:spcAft>
                <a:spcPct val="0"/>
              </a:spcAft>
              <a:defRPr/>
            </a:pPr>
            <a:r>
              <a:rPr lang="en-US" sz="120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Banking System</a:t>
            </a:r>
          </a:p>
        </p:txBody>
      </p:sp>
      <p:cxnSp>
        <p:nvCxnSpPr>
          <p:cNvPr id="106" name="Straight Arrow Connector 15"/>
          <p:cNvCxnSpPr/>
          <p:nvPr/>
        </p:nvCxnSpPr>
        <p:spPr bwMode="auto">
          <a:xfrm>
            <a:off x="5365304" y="2078358"/>
            <a:ext cx="274462" cy="0"/>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sp>
        <p:nvSpPr>
          <p:cNvPr id="107" name="Rectangle 16"/>
          <p:cNvSpPr/>
          <p:nvPr/>
        </p:nvSpPr>
        <p:spPr bwMode="auto">
          <a:xfrm>
            <a:off x="3487633" y="1997139"/>
            <a:ext cx="804758" cy="276586"/>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marR="0" lvl="0" indent="0" algn="ctr" defTabSz="887553" eaLnBrk="0" fontAlgn="base" hangingPunct="0">
              <a:lnSpc>
                <a:spcPct val="100000"/>
              </a:lnSpc>
              <a:spcBef>
                <a:spcPct val="0"/>
              </a:spcBef>
              <a:spcAft>
                <a:spcPct val="0"/>
              </a:spcAft>
              <a:buClrTx/>
              <a:buSzTx/>
              <a:buFontTx/>
              <a:buNone/>
              <a:tabLs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Deposits</a:t>
            </a:r>
          </a:p>
        </p:txBody>
      </p:sp>
      <p:sp>
        <p:nvSpPr>
          <p:cNvPr id="108" name="Rectangle 17"/>
          <p:cNvSpPr/>
          <p:nvPr/>
        </p:nvSpPr>
        <p:spPr bwMode="auto">
          <a:xfrm>
            <a:off x="4292511" y="1997139"/>
            <a:ext cx="796106" cy="276586"/>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algn="ctr" defTabSz="887553" eaLnBrk="0" fontAlgn="base" hangingPunct="0">
              <a:spcBef>
                <a:spcPct val="0"/>
              </a:spcBef>
              <a:spcAft>
                <a:spcPct val="0"/>
              </a:spcAf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Loans</a:t>
            </a:r>
          </a:p>
        </p:txBody>
      </p:sp>
      <p:sp>
        <p:nvSpPr>
          <p:cNvPr id="109" name="TextBox 9"/>
          <p:cNvSpPr txBox="1"/>
          <p:nvPr/>
        </p:nvSpPr>
        <p:spPr>
          <a:xfrm>
            <a:off x="1111846" y="2477691"/>
            <a:ext cx="1924050" cy="1367407"/>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18288" tIns="44375" rIns="18288" bIns="44375" numCol="1" spcCol="0" rtlCol="0" fromWordArt="0" anchor="t"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algn="ctr" defTabSz="887553" fontAlgn="base">
              <a:spcBef>
                <a:spcPct val="0"/>
              </a:spcBef>
              <a:spcAft>
                <a:spcPct val="0"/>
              </a:spcAft>
              <a:defRPr/>
            </a:pPr>
            <a:r>
              <a:rPr lang="en-US" sz="1200">
                <a:solidFill>
                  <a:srgbClr val="3F5073"/>
                </a:solidFill>
                <a:latin typeface="Open Sans Bold" panose="020B0806030504020204" pitchFamily="34" charset="0"/>
                <a:ea typeface="Open Sans Bold" panose="020B0806030504020204" pitchFamily="34" charset="0"/>
                <a:cs typeface="Open Sans Bold" panose="020B0806030504020204" pitchFamily="34" charset="0"/>
              </a:rPr>
              <a:t>Subsidiaries</a:t>
            </a:r>
          </a:p>
        </p:txBody>
      </p:sp>
      <p:sp>
        <p:nvSpPr>
          <p:cNvPr id="110" name="Rectangle 18"/>
          <p:cNvSpPr/>
          <p:nvPr/>
        </p:nvSpPr>
        <p:spPr bwMode="auto">
          <a:xfrm>
            <a:off x="2107615" y="2767860"/>
            <a:ext cx="903936" cy="536079"/>
          </a:xfrm>
          <a:prstGeom prst="rect">
            <a:avLst/>
          </a:prstGeom>
          <a:solidFill>
            <a:schemeClr val="bg1">
              <a:lumMod val="95000"/>
            </a:schemeClr>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t" anchorCtr="0" compatLnSpc="1">
            <a:prstTxWarp prst="textNoShape">
              <a:avLst/>
            </a:prstTxWarp>
          </a:bodyPr>
          <a:lstStyle/>
          <a:p>
            <a:pPr marL="0" marR="0" lvl="0" indent="0" algn="ctr" defTabSz="887553" rtl="0" eaLnBrk="0" fontAlgn="base" latinLnBrk="0" hangingPunct="0">
              <a:lnSpc>
                <a:spcPct val="100000"/>
              </a:lnSpc>
              <a:spcBef>
                <a:spcPct val="0"/>
              </a:spcBef>
              <a:spcAft>
                <a:spcPct val="0"/>
              </a:spcAft>
              <a:buClrTx/>
              <a:buSzTx/>
              <a:buFontTx/>
              <a:buNone/>
              <a:tabLst/>
              <a:defRPr/>
            </a:pPr>
            <a:endParaRPr kumimoji="0" lang="en-US" sz="950" b="1" i="0" u="none" strike="noStrike" kern="1200" cap="none" spc="0" normalizeH="0" baseline="0" noProof="0">
              <a:ln>
                <a:noFill/>
              </a:ln>
              <a:solidFill>
                <a:srgbClr val="000000"/>
              </a:solidFill>
              <a:effectLst/>
              <a:uLnTx/>
              <a:uFillTx/>
              <a:latin typeface="Arial"/>
              <a:ea typeface="MS PGothic"/>
              <a:cs typeface="ＭＳ Ｐゴシック"/>
            </a:endParaRPr>
          </a:p>
          <a:p>
            <a:pPr marR="0" lvl="0" indent="0" algn="ctr" defTabSz="887553" eaLnBrk="0" fontAlgn="base" hangingPunct="0">
              <a:lnSpc>
                <a:spcPct val="100000"/>
              </a:lnSpc>
              <a:spcBef>
                <a:spcPct val="0"/>
              </a:spcBef>
              <a:spcAft>
                <a:spcPct val="0"/>
              </a:spcAft>
              <a:buClrTx/>
              <a:buSzTx/>
              <a:buFontTx/>
              <a:buNone/>
              <a:tabLs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Ledger</a:t>
            </a:r>
          </a:p>
          <a:p>
            <a:pPr marR="0" lvl="0" indent="0" algn="ctr" defTabSz="887553" eaLnBrk="0" fontAlgn="base" hangingPunct="0">
              <a:lnSpc>
                <a:spcPct val="100000"/>
              </a:lnSpc>
              <a:spcBef>
                <a:spcPct val="0"/>
              </a:spcBef>
              <a:spcAft>
                <a:spcPct val="0"/>
              </a:spcAft>
              <a:buClrTx/>
              <a:buSzTx/>
              <a:buFontTx/>
              <a:buNone/>
              <a:tabLs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Data</a:t>
            </a:r>
          </a:p>
        </p:txBody>
      </p:sp>
      <p:sp>
        <p:nvSpPr>
          <p:cNvPr id="112" name="Rectangle 20"/>
          <p:cNvSpPr/>
          <p:nvPr/>
        </p:nvSpPr>
        <p:spPr bwMode="auto">
          <a:xfrm>
            <a:off x="1142020" y="2772288"/>
            <a:ext cx="931851" cy="531650"/>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marL="0" marR="0" lvl="0" indent="0" algn="ctr" defTabSz="887553"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F5073"/>
                </a:solidFill>
                <a:effectLst/>
                <a:uLnTx/>
                <a:uFillTx/>
                <a:latin typeface="Open Sans" panose="020B0606030504020204" pitchFamily="34" charset="0"/>
                <a:ea typeface="Open Sans" panose="020B0606030504020204" pitchFamily="34" charset="0"/>
                <a:cs typeface="Open Sans" panose="020B0606030504020204" pitchFamily="34" charset="0"/>
              </a:rPr>
              <a:t>WM</a:t>
            </a:r>
          </a:p>
        </p:txBody>
      </p:sp>
      <p:sp>
        <p:nvSpPr>
          <p:cNvPr id="113" name="Rectangle 23"/>
          <p:cNvSpPr/>
          <p:nvPr/>
        </p:nvSpPr>
        <p:spPr bwMode="auto">
          <a:xfrm>
            <a:off x="3479829" y="2735399"/>
            <a:ext cx="1608789" cy="338530"/>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marR="0" lvl="0" indent="0" algn="ctr" defTabSz="887553" eaLnBrk="0" fontAlgn="base" hangingPunct="0">
              <a:lnSpc>
                <a:spcPct val="100000"/>
              </a:lnSpc>
              <a:spcBef>
                <a:spcPct val="0"/>
              </a:spcBef>
              <a:spcAft>
                <a:spcPct val="0"/>
              </a:spcAft>
              <a:buClrTx/>
              <a:buSzTx/>
              <a:buFontTx/>
              <a:buNone/>
              <a:tabLst/>
              <a:defRPr/>
            </a:pPr>
            <a:r>
              <a:rPr lang="en-US" sz="1200">
                <a:solidFill>
                  <a:srgbClr val="3F5073"/>
                </a:solidFill>
                <a:latin typeface="Open Sans Bold" panose="020B0806030504020204" pitchFamily="34" charset="0"/>
                <a:ea typeface="Open Sans Bold" panose="020B0806030504020204" pitchFamily="34" charset="0"/>
                <a:cs typeface="Open Sans Bold" panose="020B0806030504020204" pitchFamily="34" charset="0"/>
              </a:rPr>
              <a:t>General Ledger</a:t>
            </a:r>
          </a:p>
        </p:txBody>
      </p:sp>
      <p:sp>
        <p:nvSpPr>
          <p:cNvPr id="114" name="Rectangle 45"/>
          <p:cNvSpPr/>
          <p:nvPr/>
        </p:nvSpPr>
        <p:spPr bwMode="auto">
          <a:xfrm>
            <a:off x="3489353" y="2287776"/>
            <a:ext cx="1587385" cy="438100"/>
          </a:xfrm>
          <a:prstGeom prst="rect">
            <a:avLst/>
          </a:prstGeom>
          <a:solidFill>
            <a:schemeClr val="bg1"/>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34" charset="0"/>
              <a:ea typeface="MS PGothic"/>
              <a:cs typeface="ＭＳ Ｐゴシック"/>
            </a:endParaRPr>
          </a:p>
        </p:txBody>
      </p:sp>
      <p:sp>
        <p:nvSpPr>
          <p:cNvPr id="116" name="Rectangle 46"/>
          <p:cNvSpPr/>
          <p:nvPr/>
        </p:nvSpPr>
        <p:spPr bwMode="auto">
          <a:xfrm>
            <a:off x="5088617" y="2019001"/>
            <a:ext cx="271085" cy="1053614"/>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wordArtVert" wrap="square" lIns="0" tIns="44375" rIns="0" bIns="44375" numCol="1" rtlCol="0" anchor="ctr" anchorCtr="0" compatLnSpc="1">
            <a:prstTxWarp prst="textNoShape">
              <a:avLst/>
            </a:prstTxWarp>
          </a:bodyPr>
          <a:lstStyle/>
          <a:p>
            <a:pPr marR="0" lvl="0" indent="0" algn="ctr" defTabSz="887553" eaLnBrk="0" fontAlgn="base" hangingPunct="0">
              <a:lnSpc>
                <a:spcPct val="100000"/>
              </a:lnSpc>
              <a:spcBef>
                <a:spcPct val="0"/>
              </a:spcBef>
              <a:spcAft>
                <a:spcPct val="0"/>
              </a:spcAft>
              <a:buClrTx/>
              <a:buSzTx/>
              <a:buFontTx/>
              <a:buNone/>
              <a:tabLst/>
              <a:defRPr/>
            </a:pPr>
            <a:r>
              <a:rPr lang="en-US" sz="1200">
                <a:solidFill>
                  <a:srgbClr val="3F5073"/>
                </a:solidFill>
                <a:latin typeface="Open Sans Bold" panose="020B0806030504020204" pitchFamily="34" charset="0"/>
                <a:ea typeface="Open Sans Bold" panose="020B0806030504020204" pitchFamily="34" charset="0"/>
                <a:cs typeface="Open Sans Bold" panose="020B0806030504020204" pitchFamily="34" charset="0"/>
              </a:rPr>
              <a:t>DB</a:t>
            </a:r>
          </a:p>
        </p:txBody>
      </p:sp>
      <p:sp>
        <p:nvSpPr>
          <p:cNvPr id="117" name="Down Arrow 4"/>
          <p:cNvSpPr/>
          <p:nvPr/>
        </p:nvSpPr>
        <p:spPr bwMode="auto">
          <a:xfrm>
            <a:off x="3603377" y="2319566"/>
            <a:ext cx="1361691" cy="396000"/>
          </a:xfrm>
          <a:prstGeom prst="downArrow">
            <a:avLst>
              <a:gd name="adj1" fmla="val 70264"/>
              <a:gd name="adj2" fmla="val 51551"/>
            </a:avLst>
          </a:prstGeom>
          <a:solidFill>
            <a:schemeClr val="accent2">
              <a:lumMod val="40000"/>
              <a:lumOff val="60000"/>
            </a:schemeClr>
          </a:solidFill>
          <a:ln w="9525" cap="flat" cmpd="sng" algn="ctr">
            <a:solidFill>
              <a:schemeClr val="accent6">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000">
                <a:solidFill>
                  <a:srgbClr val="3F5073"/>
                </a:solidFill>
                <a:latin typeface="Open Sans" panose="020B0606030504020204" pitchFamily="34" charset="0"/>
                <a:ea typeface="Open Sans" panose="020B0606030504020204" pitchFamily="34" charset="0"/>
                <a:cs typeface="Open Sans" panose="020B0606030504020204" pitchFamily="34" charset="0"/>
              </a:rPr>
              <a:t>Product Accounting</a:t>
            </a:r>
          </a:p>
        </p:txBody>
      </p:sp>
      <p:sp>
        <p:nvSpPr>
          <p:cNvPr id="119" name="Rectangle 123"/>
          <p:cNvSpPr/>
          <p:nvPr/>
        </p:nvSpPr>
        <p:spPr bwMode="auto">
          <a:xfrm>
            <a:off x="3493281" y="3738705"/>
            <a:ext cx="1896960" cy="744335"/>
          </a:xfrm>
          <a:prstGeom prst="rect">
            <a:avLst/>
          </a:prstGeom>
          <a:solidFill>
            <a:schemeClr val="bg2">
              <a:lumMod val="60000"/>
              <a:lumOff val="40000"/>
            </a:schemeClr>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t" anchorCtr="0" compatLnSpc="1">
            <a:prstTxWarp prst="textNoShape">
              <a:avLst/>
            </a:prstTxWarp>
          </a:bodyPr>
          <a:lstStyle/>
          <a:p>
            <a:pPr marL="0" marR="0" lvl="0" indent="0" algn="ctr" defTabSz="887553" rtl="0" eaLnBrk="0" fontAlgn="base" latinLnBrk="0" hangingPunct="0">
              <a:lnSpc>
                <a:spcPct val="100000"/>
              </a:lnSpc>
              <a:spcBef>
                <a:spcPct val="0"/>
              </a:spcBef>
              <a:spcAft>
                <a:spcPct val="0"/>
              </a:spcAft>
              <a:buClrTx/>
              <a:buSzTx/>
              <a:buFontTx/>
              <a:buNone/>
              <a:tabLst/>
              <a:defRPr/>
            </a:pPr>
            <a:endParaRPr kumimoji="0" lang="en-US" sz="1359" b="1" i="0" u="none" strike="noStrike" kern="1200" cap="none" spc="0" normalizeH="0" baseline="0" noProof="0">
              <a:ln>
                <a:noFill/>
              </a:ln>
              <a:solidFill>
                <a:srgbClr val="000000"/>
              </a:solidFill>
              <a:effectLst/>
              <a:uLnTx/>
              <a:uFillTx/>
              <a:latin typeface="Arial"/>
              <a:ea typeface="MS PGothic"/>
              <a:cs typeface="ＭＳ Ｐゴシック"/>
            </a:endParaRPr>
          </a:p>
        </p:txBody>
      </p:sp>
      <p:cxnSp>
        <p:nvCxnSpPr>
          <p:cNvPr id="146" name="Straight Arrow Connector 170"/>
          <p:cNvCxnSpPr>
            <a:cxnSpLocks/>
          </p:cNvCxnSpPr>
          <p:nvPr/>
        </p:nvCxnSpPr>
        <p:spPr bwMode="auto">
          <a:xfrm>
            <a:off x="4414085" y="3042920"/>
            <a:ext cx="0" cy="695785"/>
          </a:xfrm>
          <a:prstGeom prst="straightConnector1">
            <a:avLst/>
          </a:prstGeom>
          <a:solidFill>
            <a:schemeClr val="accent1"/>
          </a:solidFill>
          <a:ln w="19050" cap="flat" cmpd="sng" algn="ctr">
            <a:solidFill>
              <a:srgbClr val="3F5073"/>
            </a:solidFill>
            <a:prstDash val="solid"/>
            <a:round/>
            <a:headEnd type="triangle" w="med" len="med"/>
            <a:tailEnd type="triangle"/>
          </a:ln>
          <a:effectLst/>
        </p:spPr>
      </p:cxnSp>
      <p:sp>
        <p:nvSpPr>
          <p:cNvPr id="149" name="TextBox 9"/>
          <p:cNvSpPr txBox="1"/>
          <p:nvPr/>
        </p:nvSpPr>
        <p:spPr>
          <a:xfrm>
            <a:off x="1088894" y="1104648"/>
            <a:ext cx="1947002" cy="1033817"/>
          </a:xfrm>
          <a:prstGeom prst="rect">
            <a:avLst/>
          </a:prstGeom>
          <a:solidFill>
            <a:schemeClr val="bg1">
              <a:lumMod val="95000"/>
            </a:schemeClr>
          </a:solidFill>
          <a:ln w="9525" cap="flat" cmpd="sng" algn="ctr">
            <a:solidFill>
              <a:srgbClr val="F86F35"/>
            </a:solidFill>
            <a:prstDash val="solid"/>
            <a:round/>
            <a:headEnd type="none" w="med" len="med"/>
            <a:tailEnd type="none" w="med" len="med"/>
          </a:ln>
          <a:effectLst/>
        </p:spPr>
        <p:txBody>
          <a:bodyPr rot="0" spcFirstLastPara="0" vertOverflow="overflow" horzOverflow="overflow" vert="horz" wrap="square" lIns="18288" tIns="44375" rIns="18288" bIns="44375" numCol="1" spcCol="0" rtlCol="0" fromWordArt="0" anchor="t"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marL="0" marR="0" lvl="0" indent="0" algn="ctr" defTabSz="88755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F5073"/>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Banking Channels and Satellite Systems</a:t>
            </a:r>
          </a:p>
        </p:txBody>
      </p:sp>
      <p:sp>
        <p:nvSpPr>
          <p:cNvPr id="150" name="Rectangle 20"/>
          <p:cNvSpPr/>
          <p:nvPr/>
        </p:nvSpPr>
        <p:spPr bwMode="auto">
          <a:xfrm>
            <a:off x="2107615" y="1574035"/>
            <a:ext cx="888894" cy="473617"/>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algn="ctr" defTabSz="887553" eaLnBrk="0" fontAlgn="base" hangingPunct="0">
              <a:spcBef>
                <a:spcPct val="0"/>
              </a:spcBef>
              <a:spcAft>
                <a:spcPct val="0"/>
              </a:spcAf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Operational Data (</a:t>
            </a:r>
            <a:r>
              <a:rPr lang="en-US" sz="9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Txns</a:t>
            </a: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 </a:t>
            </a:r>
            <a:r>
              <a:rPr lang="en-US" sz="9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etc</a:t>
            </a: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a:t>
            </a:r>
          </a:p>
        </p:txBody>
      </p:sp>
      <p:sp>
        <p:nvSpPr>
          <p:cNvPr id="151" name="Rectangle 20"/>
          <p:cNvSpPr/>
          <p:nvPr/>
        </p:nvSpPr>
        <p:spPr bwMode="auto">
          <a:xfrm>
            <a:off x="1105311" y="1574035"/>
            <a:ext cx="968560" cy="473617"/>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marL="0" marR="0" lvl="0" indent="0" algn="ctr" defTabSz="887553" rtl="0" eaLnBrk="0" fontAlgn="base" latinLnBrk="0" hangingPunct="0">
              <a:lnSpc>
                <a:spcPct val="100000"/>
              </a:lnSpc>
              <a:spcBef>
                <a:spcPct val="0"/>
              </a:spcBef>
              <a:spcAft>
                <a:spcPct val="0"/>
              </a:spcAft>
              <a:buClrTx/>
              <a:buSzTx/>
              <a:buFontTx/>
              <a:buNone/>
              <a:tabLst/>
              <a:defRPr/>
            </a:pPr>
            <a:r>
              <a:rPr kumimoji="0" lang="en-US" sz="900" i="0" u="none" strike="noStrike" kern="1200" cap="none" spc="0" normalizeH="0" baseline="0" noProof="0">
                <a:ln>
                  <a:noFill/>
                </a:ln>
                <a:solidFill>
                  <a:srgbClr val="3F507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Ledger daily Operation</a:t>
            </a:r>
          </a:p>
        </p:txBody>
      </p:sp>
      <p:sp>
        <p:nvSpPr>
          <p:cNvPr id="152" name="Rectangle 20"/>
          <p:cNvSpPr/>
          <p:nvPr/>
        </p:nvSpPr>
        <p:spPr bwMode="auto">
          <a:xfrm>
            <a:off x="1138174" y="3372947"/>
            <a:ext cx="928383" cy="430665"/>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marL="0" marR="0" lvl="0" indent="0" algn="ctr" defTabSz="887553" rtl="0" eaLnBrk="0" fontAlgn="base" latinLnBrk="0" hangingPunct="0">
              <a:lnSpc>
                <a:spcPct val="100000"/>
              </a:lnSpc>
              <a:spcBef>
                <a:spcPct val="0"/>
              </a:spcBef>
              <a:spcAft>
                <a:spcPct val="0"/>
              </a:spcAft>
              <a:buClrTx/>
              <a:buSzTx/>
              <a:buFontTx/>
              <a:buNone/>
              <a:tabLst/>
              <a:defRPr/>
            </a:pPr>
            <a:r>
              <a:rPr lang="en-US" sz="1000">
                <a:solidFill>
                  <a:srgbClr val="3F5073"/>
                </a:solidFill>
                <a:latin typeface="Open Sans" panose="020B0606030504020204" pitchFamily="34" charset="0"/>
                <a:ea typeface="Open Sans" panose="020B0606030504020204" pitchFamily="34" charset="0"/>
                <a:cs typeface="Open Sans" panose="020B0606030504020204" pitchFamily="34" charset="0"/>
              </a:rPr>
              <a:t>Others</a:t>
            </a:r>
          </a:p>
        </p:txBody>
      </p:sp>
      <p:cxnSp>
        <p:nvCxnSpPr>
          <p:cNvPr id="153" name="Straight Arrow Connector 15"/>
          <p:cNvCxnSpPr/>
          <p:nvPr/>
        </p:nvCxnSpPr>
        <p:spPr bwMode="auto">
          <a:xfrm flipH="1">
            <a:off x="5361576" y="2331939"/>
            <a:ext cx="286790" cy="0"/>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sp>
        <p:nvSpPr>
          <p:cNvPr id="154" name="TextBox 9"/>
          <p:cNvSpPr txBox="1"/>
          <p:nvPr/>
        </p:nvSpPr>
        <p:spPr>
          <a:xfrm>
            <a:off x="5623030" y="1192427"/>
            <a:ext cx="935881" cy="1359941"/>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18288" tIns="44375" rIns="18288" bIns="44375" numCol="1" spcCol="0" rtlCol="0" fromWordArt="0" anchor="ctr"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marR="0" lvl="0" indent="0" algn="ctr" defTabSz="887553" fontAlgn="base">
              <a:lnSpc>
                <a:spcPct val="100000"/>
              </a:lnSpc>
              <a:spcBef>
                <a:spcPct val="0"/>
              </a:spcBef>
              <a:spcAft>
                <a:spcPct val="0"/>
              </a:spcAft>
              <a:buClrTx/>
              <a:buSzTx/>
              <a:buFontTx/>
              <a:buNone/>
              <a:tabLs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Reconciliation</a:t>
            </a:r>
          </a:p>
          <a:p>
            <a:pPr marR="0" lvl="0" indent="0" algn="ctr" defTabSz="887553" fontAlgn="base">
              <a:lnSpc>
                <a:spcPct val="100000"/>
              </a:lnSpc>
              <a:spcBef>
                <a:spcPct val="0"/>
              </a:spcBef>
              <a:spcAft>
                <a:spcPct val="0"/>
              </a:spcAft>
              <a:buClrTx/>
              <a:buSzTx/>
              <a:buFontTx/>
              <a:buNone/>
              <a:tabLst/>
              <a:defRPr/>
            </a:pPr>
            <a:endPar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marR="0" lvl="0" indent="0" algn="ctr" defTabSz="887553" fontAlgn="base">
              <a:lnSpc>
                <a:spcPct val="100000"/>
              </a:lnSpc>
              <a:spcBef>
                <a:spcPct val="0"/>
              </a:spcBef>
              <a:spcAft>
                <a:spcPct val="0"/>
              </a:spcAft>
              <a:buClrTx/>
              <a:buSzTx/>
              <a:buFontTx/>
              <a:buNone/>
              <a:tabLs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Processes</a:t>
            </a:r>
          </a:p>
        </p:txBody>
      </p:sp>
      <p:cxnSp>
        <p:nvCxnSpPr>
          <p:cNvPr id="155" name="Elbow Connector 53"/>
          <p:cNvCxnSpPr/>
          <p:nvPr/>
        </p:nvCxnSpPr>
        <p:spPr bwMode="auto">
          <a:xfrm flipV="1">
            <a:off x="3026371" y="997301"/>
            <a:ext cx="3248590" cy="666414"/>
          </a:xfrm>
          <a:prstGeom prst="bentConnector3">
            <a:avLst>
              <a:gd name="adj1" fmla="val 9831"/>
            </a:avLst>
          </a:prstGeom>
          <a:solidFill>
            <a:schemeClr val="accent1"/>
          </a:solidFill>
          <a:ln w="19050" cap="flat" cmpd="sng" algn="ctr">
            <a:solidFill>
              <a:srgbClr val="3F5073"/>
            </a:solidFill>
            <a:prstDash val="solid"/>
            <a:round/>
            <a:headEnd type="none" w="med" len="med"/>
            <a:tailEnd type="none" w="med" len="med"/>
          </a:ln>
          <a:effectLst/>
        </p:spPr>
      </p:cxnSp>
      <p:cxnSp>
        <p:nvCxnSpPr>
          <p:cNvPr id="156" name="Elbow Connector 191"/>
          <p:cNvCxnSpPr/>
          <p:nvPr/>
        </p:nvCxnSpPr>
        <p:spPr bwMode="auto">
          <a:xfrm>
            <a:off x="1628087" y="2248794"/>
            <a:ext cx="1851741" cy="568023"/>
          </a:xfrm>
          <a:prstGeom prst="bentConnector3">
            <a:avLst>
              <a:gd name="adj1" fmla="val 87734"/>
            </a:avLst>
          </a:prstGeom>
          <a:solidFill>
            <a:schemeClr val="accent1"/>
          </a:solidFill>
          <a:ln w="19050" cap="flat" cmpd="sng" algn="ctr">
            <a:solidFill>
              <a:srgbClr val="3F5073"/>
            </a:solidFill>
            <a:prstDash val="solid"/>
            <a:round/>
            <a:headEnd type="none" w="med" len="med"/>
            <a:tailEnd type="triangle"/>
          </a:ln>
          <a:effectLst/>
        </p:spPr>
      </p:cxnSp>
      <p:sp>
        <p:nvSpPr>
          <p:cNvPr id="157" name="Rectangle 20"/>
          <p:cNvSpPr/>
          <p:nvPr/>
        </p:nvSpPr>
        <p:spPr bwMode="auto">
          <a:xfrm>
            <a:off x="2102920" y="3376153"/>
            <a:ext cx="908631" cy="427459"/>
          </a:xfrm>
          <a:prstGeom prst="rect">
            <a:avLst/>
          </a:prstGeom>
          <a:solidFill>
            <a:schemeClr val="bg1">
              <a:lumMod val="95000"/>
            </a:schemeClr>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algn="ctr" defTabSz="887553" eaLnBrk="0" fontAlgn="base" hangingPunct="0">
              <a:spcBef>
                <a:spcPct val="0"/>
              </a:spcBef>
              <a:spcAft>
                <a:spcPct val="0"/>
              </a:spcAft>
              <a:defRPr/>
            </a:pPr>
            <a:r>
              <a:rPr lang="en-US" sz="9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Operational Data</a:t>
            </a:r>
          </a:p>
        </p:txBody>
      </p:sp>
      <p:sp>
        <p:nvSpPr>
          <p:cNvPr id="158" name="TextBox 9"/>
          <p:cNvSpPr txBox="1"/>
          <p:nvPr/>
        </p:nvSpPr>
        <p:spPr>
          <a:xfrm>
            <a:off x="8182616" y="1357435"/>
            <a:ext cx="2997261" cy="973187"/>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18288" tIns="44375" rIns="18288" bIns="44375" numCol="1" spcCol="0" rtlCol="0" fromWordArt="0" anchor="t"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marL="0" marR="0" lvl="0" indent="0" algn="ctr" defTabSz="887553" rtl="0" eaLnBrk="0" fontAlgn="base" latinLnBrk="0" hangingPunct="0">
              <a:lnSpc>
                <a:spcPct val="100000"/>
              </a:lnSpc>
              <a:spcBef>
                <a:spcPct val="0"/>
              </a:spcBef>
              <a:spcAft>
                <a:spcPct val="0"/>
              </a:spcAft>
              <a:buClrTx/>
              <a:buSzTx/>
              <a:buFontTx/>
              <a:buNone/>
              <a:tabLst/>
              <a:defRPr/>
            </a:pPr>
            <a:r>
              <a:rPr lang="en-US" sz="1200">
                <a:solidFill>
                  <a:srgbClr val="0111A2"/>
                </a:solidFill>
                <a:latin typeface="Open Sans Bold" panose="020B0806030504020204" pitchFamily="34" charset="0"/>
                <a:ea typeface="Open Sans Bold" panose="020B0806030504020204" pitchFamily="34" charset="0"/>
                <a:cs typeface="Open Sans Bold" panose="020B0806030504020204" pitchFamily="34" charset="0"/>
              </a:rPr>
              <a:t>Enterprise Data Lake</a:t>
            </a:r>
          </a:p>
          <a:p>
            <a:pPr marL="0" marR="0" lvl="0" indent="0" algn="ctr" defTabSz="887553" rtl="0" eaLnBrk="0" fontAlgn="base" latinLnBrk="0" hangingPunct="0">
              <a:lnSpc>
                <a:spcPct val="100000"/>
              </a:lnSpc>
              <a:spcBef>
                <a:spcPct val="0"/>
              </a:spcBef>
              <a:spcAft>
                <a:spcPct val="0"/>
              </a:spcAft>
              <a:buClrTx/>
              <a:buSzTx/>
              <a:buFontTx/>
              <a:buNone/>
              <a:tabLst/>
              <a:defRPr/>
            </a:pPr>
            <a:endParaRPr kumimoji="0" lang="en-US" sz="600" b="0" i="0" u="none" strike="noStrike" kern="1200" cap="none" spc="0" normalizeH="0" baseline="0" noProof="0">
              <a:ln>
                <a:noFill/>
              </a:ln>
              <a:solidFill>
                <a:srgbClr val="0111A2"/>
              </a:solidFill>
              <a:effectLst/>
              <a:uLnTx/>
              <a:uFillTx/>
              <a:latin typeface="Arial"/>
              <a:ea typeface="ＭＳ Ｐゴシック"/>
            </a:endParaRPr>
          </a:p>
          <a:p>
            <a:pPr algn="ctr" defTabSz="887553" fontAlgn="base">
              <a:spcBef>
                <a:spcPct val="0"/>
              </a:spcBef>
              <a:spcAft>
                <a:spcPct val="0"/>
              </a:spcAft>
              <a:defRPr/>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All the Banking and Non Banking Master Data</a:t>
            </a:r>
          </a:p>
        </p:txBody>
      </p:sp>
      <p:cxnSp>
        <p:nvCxnSpPr>
          <p:cNvPr id="159" name="Straight Arrow Connector 170"/>
          <p:cNvCxnSpPr/>
          <p:nvPr/>
        </p:nvCxnSpPr>
        <p:spPr bwMode="auto">
          <a:xfrm flipV="1">
            <a:off x="5390242" y="2927072"/>
            <a:ext cx="1338941" cy="876541"/>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cxnSp>
        <p:nvCxnSpPr>
          <p:cNvPr id="160" name="Straight Arrow Connector 170"/>
          <p:cNvCxnSpPr/>
          <p:nvPr/>
        </p:nvCxnSpPr>
        <p:spPr bwMode="auto">
          <a:xfrm flipV="1">
            <a:off x="5364364" y="2725878"/>
            <a:ext cx="1347567" cy="18407"/>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cxnSp>
        <p:nvCxnSpPr>
          <p:cNvPr id="161" name="Straight Arrow Connector 170"/>
          <p:cNvCxnSpPr/>
          <p:nvPr/>
        </p:nvCxnSpPr>
        <p:spPr bwMode="auto">
          <a:xfrm>
            <a:off x="1637095" y="2127531"/>
            <a:ext cx="0" cy="110946"/>
          </a:xfrm>
          <a:prstGeom prst="straightConnector1">
            <a:avLst/>
          </a:prstGeom>
          <a:solidFill>
            <a:schemeClr val="accent1"/>
          </a:solidFill>
          <a:ln w="28575" cap="flat" cmpd="sng" algn="ctr">
            <a:solidFill>
              <a:schemeClr val="tx1"/>
            </a:solidFill>
            <a:prstDash val="solid"/>
            <a:round/>
            <a:headEnd type="none" w="med" len="med"/>
            <a:tailEnd type="none"/>
          </a:ln>
          <a:effectLst/>
        </p:spPr>
      </p:cxnSp>
      <p:cxnSp>
        <p:nvCxnSpPr>
          <p:cNvPr id="167" name="Elbow Connector 86"/>
          <p:cNvCxnSpPr/>
          <p:nvPr/>
        </p:nvCxnSpPr>
        <p:spPr bwMode="auto">
          <a:xfrm flipV="1">
            <a:off x="3063793" y="2853391"/>
            <a:ext cx="3618662" cy="585680"/>
          </a:xfrm>
          <a:prstGeom prst="bentConnector3">
            <a:avLst>
              <a:gd name="adj1" fmla="val 72641"/>
            </a:avLst>
          </a:prstGeom>
          <a:solidFill>
            <a:schemeClr val="accent1"/>
          </a:solidFill>
          <a:ln w="19050" cap="flat" cmpd="sng" algn="ctr">
            <a:solidFill>
              <a:srgbClr val="F86F35"/>
            </a:solidFill>
            <a:prstDash val="sysDash"/>
            <a:round/>
            <a:headEnd type="none" w="med" len="med"/>
            <a:tailEnd type="triangle"/>
          </a:ln>
          <a:effectLst/>
        </p:spPr>
      </p:cxnSp>
      <p:cxnSp>
        <p:nvCxnSpPr>
          <p:cNvPr id="168" name="Straight Arrow Connector 170"/>
          <p:cNvCxnSpPr/>
          <p:nvPr/>
        </p:nvCxnSpPr>
        <p:spPr bwMode="auto">
          <a:xfrm>
            <a:off x="6346969" y="997302"/>
            <a:ext cx="0" cy="200025"/>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sp>
        <p:nvSpPr>
          <p:cNvPr id="169" name="Rectangle 16"/>
          <p:cNvSpPr/>
          <p:nvPr/>
        </p:nvSpPr>
        <p:spPr bwMode="auto">
          <a:xfrm>
            <a:off x="3479827" y="1730439"/>
            <a:ext cx="1872118" cy="288562"/>
          </a:xfrm>
          <a:prstGeom prst="rect">
            <a:avLst/>
          </a:prstGeom>
          <a:solidFill>
            <a:schemeClr val="bg1"/>
          </a:solidFill>
          <a:ln w="9525" cap="flat" cmpd="sng" algn="ctr">
            <a:solidFill>
              <a:srgbClr val="F86F35"/>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algn="ctr" defTabSz="887553" eaLnBrk="0" fontAlgn="base" hangingPunct="0">
              <a:spcBef>
                <a:spcPct val="0"/>
              </a:spcBef>
              <a:spcAft>
                <a:spcPct val="0"/>
              </a:spcAft>
              <a:defRPr/>
            </a:pPr>
            <a:r>
              <a:rPr lang="en-US" sz="1200">
                <a:solidFill>
                  <a:srgbClr val="3F5073"/>
                </a:solidFill>
                <a:latin typeface="Open Sans Bold" panose="020B0806030504020204" pitchFamily="34" charset="0"/>
                <a:ea typeface="Open Sans Bold" panose="020B0806030504020204" pitchFamily="34" charset="0"/>
                <a:cs typeface="Open Sans Bold" panose="020B0806030504020204" pitchFamily="34" charset="0"/>
              </a:rPr>
              <a:t>CIF</a:t>
            </a:r>
          </a:p>
        </p:txBody>
      </p:sp>
      <p:sp>
        <p:nvSpPr>
          <p:cNvPr id="170" name="Rectangle 2"/>
          <p:cNvSpPr txBox="1">
            <a:spLocks/>
          </p:cNvSpPr>
          <p:nvPr/>
        </p:nvSpPr>
        <p:spPr bwMode="auto">
          <a:xfrm>
            <a:off x="8001956" y="4098603"/>
            <a:ext cx="3326957"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35" tIns="50917" rIns="101835" bIns="50917" anchor="ctr"/>
          <a:lstStyle/>
          <a:p>
            <a:pPr algn="ctr" eaLnBrk="0" fontAlgn="base" hangingPunct="0">
              <a:spcBef>
                <a:spcPct val="0"/>
              </a:spcBef>
              <a:spcAft>
                <a:spcPct val="0"/>
              </a:spcAft>
              <a:defRPr/>
            </a:pPr>
            <a:r>
              <a:rPr lang="en-US" altLang="en-US" sz="1600">
                <a:solidFill>
                  <a:srgbClr val="F86F35"/>
                </a:solidFill>
                <a:latin typeface="Open Sans Bold" panose="020B0806030504020204" pitchFamily="34" charset="0"/>
                <a:ea typeface="Open Sans Bold" panose="020B0806030504020204" pitchFamily="34" charset="0"/>
                <a:cs typeface="Open Sans Bold" panose="020B0806030504020204" pitchFamily="34" charset="0"/>
              </a:rPr>
              <a:t>DWH, MIS &amp; Data </a:t>
            </a:r>
            <a:r>
              <a:rPr lang="en-US" altLang="en-US" sz="1600" err="1">
                <a:solidFill>
                  <a:srgbClr val="F86F35"/>
                </a:solidFill>
                <a:latin typeface="Open Sans Bold" panose="020B0806030504020204" pitchFamily="34" charset="0"/>
                <a:ea typeface="Open Sans Bold" panose="020B0806030504020204" pitchFamily="34" charset="0"/>
                <a:cs typeface="Open Sans Bold" panose="020B0806030504020204" pitchFamily="34" charset="0"/>
              </a:rPr>
              <a:t>Mgmt</a:t>
            </a:r>
            <a:endParaRPr lang="en-US" altLang="en-US" sz="1600">
              <a:solidFill>
                <a:srgbClr val="F86F35"/>
              </a:solidFill>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71" name="Rectangle 2"/>
          <p:cNvSpPr txBox="1">
            <a:spLocks/>
          </p:cNvSpPr>
          <p:nvPr/>
        </p:nvSpPr>
        <p:spPr bwMode="auto">
          <a:xfrm>
            <a:off x="1088893" y="3983815"/>
            <a:ext cx="194700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35" tIns="50917" rIns="101835" bIns="50917"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F86F3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Legacy/Cor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F86F3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omponents</a:t>
            </a:r>
          </a:p>
        </p:txBody>
      </p:sp>
      <p:grpSp>
        <p:nvGrpSpPr>
          <p:cNvPr id="17" name="Grupo 16">
            <a:extLst>
              <a:ext uri="{FF2B5EF4-FFF2-40B4-BE49-F238E27FC236}">
                <a16:creationId xmlns:a16="http://schemas.microsoft.com/office/drawing/2014/main" id="{ED404198-8923-62E7-06B7-7F6242950158}"/>
              </a:ext>
            </a:extLst>
          </p:cNvPr>
          <p:cNvGrpSpPr/>
          <p:nvPr/>
        </p:nvGrpSpPr>
        <p:grpSpPr>
          <a:xfrm>
            <a:off x="8182616" y="2418652"/>
            <a:ext cx="3012300" cy="632896"/>
            <a:chOff x="8335016" y="2194869"/>
            <a:chExt cx="3012300" cy="632896"/>
          </a:xfrm>
        </p:grpSpPr>
        <p:sp>
          <p:nvSpPr>
            <p:cNvPr id="208" name="TextBox 150"/>
            <p:cNvSpPr txBox="1">
              <a:spLocks/>
            </p:cNvSpPr>
            <p:nvPr/>
          </p:nvSpPr>
          <p:spPr>
            <a:xfrm>
              <a:off x="8335016" y="2201269"/>
              <a:ext cx="3012300" cy="626496"/>
            </a:xfrm>
            <a:prstGeom prst="rect">
              <a:avLst/>
            </a:prstGeom>
            <a:solidFill>
              <a:schemeClr val="bg1"/>
            </a:solidFill>
            <a:ln w="9525" cap="flat" cmpd="sng" algn="ctr">
              <a:solidFill>
                <a:srgbClr val="0111A2"/>
              </a:solidFill>
              <a:prstDash val="solid"/>
              <a:round/>
              <a:headEnd type="none" w="med" len="med"/>
              <a:tailEnd type="none" w="med" len="med"/>
            </a:ln>
            <a:effectLst/>
          </p:spPr>
          <p:txBody>
            <a:bodyPr rot="0" spcFirstLastPara="0" vertOverflow="overflow" horzOverflow="overflow" vert="horz" wrap="square" lIns="88751" tIns="44375" rIns="88751" bIns="44375" numCol="1" spcCol="0" rtlCol="0" fromWordArt="0" anchor="ctr"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marL="0" marR="0" lvl="0" indent="0" algn="ctr" defTabSz="887553"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a:ea typeface="ＭＳ Ｐゴシック"/>
              </a:endParaRPr>
            </a:p>
          </p:txBody>
        </p:sp>
        <p:cxnSp>
          <p:nvCxnSpPr>
            <p:cNvPr id="211" name="Straight Connector 153"/>
            <p:cNvCxnSpPr>
              <a:cxnSpLocks/>
            </p:cNvCxnSpPr>
            <p:nvPr/>
          </p:nvCxnSpPr>
          <p:spPr bwMode="auto">
            <a:xfrm>
              <a:off x="9062027" y="2201269"/>
              <a:ext cx="0" cy="626144"/>
            </a:xfrm>
            <a:prstGeom prst="line">
              <a:avLst/>
            </a:prstGeom>
            <a:solidFill>
              <a:schemeClr val="accent1"/>
            </a:solidFill>
            <a:ln w="9525" cap="flat" cmpd="sng" algn="ctr">
              <a:solidFill>
                <a:srgbClr val="0111A2"/>
              </a:solidFill>
              <a:prstDash val="solid"/>
              <a:round/>
              <a:headEnd type="none" w="med" len="med"/>
              <a:tailEnd type="none" w="med" len="med"/>
            </a:ln>
            <a:effectLst/>
          </p:spPr>
        </p:cxnSp>
        <p:cxnSp>
          <p:nvCxnSpPr>
            <p:cNvPr id="217" name="Straight Connector 155"/>
            <p:cNvCxnSpPr>
              <a:cxnSpLocks/>
            </p:cNvCxnSpPr>
            <p:nvPr/>
          </p:nvCxnSpPr>
          <p:spPr bwMode="auto">
            <a:xfrm>
              <a:off x="9748599" y="2194869"/>
              <a:ext cx="0" cy="632544"/>
            </a:xfrm>
            <a:prstGeom prst="line">
              <a:avLst/>
            </a:prstGeom>
            <a:solidFill>
              <a:schemeClr val="accent1"/>
            </a:solidFill>
            <a:ln w="9525" cap="flat" cmpd="sng" algn="ctr">
              <a:solidFill>
                <a:srgbClr val="0111A2"/>
              </a:solidFill>
              <a:prstDash val="solid"/>
              <a:round/>
              <a:headEnd type="none" w="med" len="med"/>
              <a:tailEnd type="none" w="med" len="med"/>
            </a:ln>
            <a:effectLst/>
          </p:spPr>
        </p:cxnSp>
        <p:cxnSp>
          <p:nvCxnSpPr>
            <p:cNvPr id="244" name="Straight Connector 155"/>
            <p:cNvCxnSpPr>
              <a:cxnSpLocks/>
            </p:cNvCxnSpPr>
            <p:nvPr/>
          </p:nvCxnSpPr>
          <p:spPr bwMode="auto">
            <a:xfrm>
              <a:off x="10500394" y="2205406"/>
              <a:ext cx="0" cy="622007"/>
            </a:xfrm>
            <a:prstGeom prst="line">
              <a:avLst/>
            </a:prstGeom>
            <a:solidFill>
              <a:schemeClr val="accent1"/>
            </a:solidFill>
            <a:ln w="9525" cap="flat" cmpd="sng" algn="ctr">
              <a:solidFill>
                <a:srgbClr val="0111A2"/>
              </a:solidFill>
              <a:prstDash val="solid"/>
              <a:round/>
              <a:headEnd type="none" w="med" len="med"/>
              <a:tailEnd type="none" w="med" len="med"/>
            </a:ln>
            <a:effectLst/>
          </p:spPr>
        </p:cxnSp>
        <p:cxnSp>
          <p:nvCxnSpPr>
            <p:cNvPr id="248" name="Straight Connector 155"/>
            <p:cNvCxnSpPr>
              <a:cxnSpLocks/>
            </p:cNvCxnSpPr>
            <p:nvPr/>
          </p:nvCxnSpPr>
          <p:spPr bwMode="auto">
            <a:xfrm>
              <a:off x="10521230" y="2467486"/>
              <a:ext cx="826086" cy="95140"/>
            </a:xfrm>
            <a:prstGeom prst="line">
              <a:avLst/>
            </a:prstGeom>
            <a:solidFill>
              <a:schemeClr val="accent1"/>
            </a:solidFill>
            <a:ln w="9525" cap="flat" cmpd="sng" algn="ctr">
              <a:solidFill>
                <a:srgbClr val="0111A2"/>
              </a:solidFill>
              <a:prstDash val="solid"/>
              <a:round/>
              <a:headEnd type="none" w="med" len="med"/>
              <a:tailEnd type="none" w="med" len="med"/>
            </a:ln>
            <a:effectLst/>
          </p:spPr>
        </p:cxnSp>
      </p:grpSp>
      <p:sp>
        <p:nvSpPr>
          <p:cNvPr id="249" name="TextBox 166"/>
          <p:cNvSpPr txBox="1"/>
          <p:nvPr/>
        </p:nvSpPr>
        <p:spPr>
          <a:xfrm>
            <a:off x="10341300" y="2510196"/>
            <a:ext cx="850445" cy="138499"/>
          </a:xfrm>
          <a:prstGeom prst="rect">
            <a:avLst/>
          </a:prstGeom>
          <a:noFill/>
        </p:spPr>
        <p:txBody>
          <a:bodyPr wrap="square" lIns="0" tIns="0" rIns="0" bIns="0" rtlCol="0">
            <a:spAutoFit/>
          </a:bodyPr>
          <a:lstStyle/>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Provisioning</a:t>
            </a:r>
          </a:p>
        </p:txBody>
      </p:sp>
      <p:sp>
        <p:nvSpPr>
          <p:cNvPr id="250" name="TextBox 166"/>
          <p:cNvSpPr txBox="1"/>
          <p:nvPr/>
        </p:nvSpPr>
        <p:spPr>
          <a:xfrm>
            <a:off x="10291328" y="2825019"/>
            <a:ext cx="903596" cy="138499"/>
          </a:xfrm>
          <a:prstGeom prst="rect">
            <a:avLst/>
          </a:prstGeom>
          <a:noFill/>
        </p:spPr>
        <p:txBody>
          <a:bodyPr wrap="square" lIns="0" tIns="0" rIns="0" bIns="0" rtlCol="0">
            <a:spAutoFit/>
          </a:bodyPr>
          <a:lstStyle/>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BASEL, </a:t>
            </a:r>
            <a:r>
              <a:rPr lang="en-US" sz="900" b="1"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etc</a:t>
            </a:r>
            <a:endPar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52" name="Rectangle 20"/>
          <p:cNvSpPr/>
          <p:nvPr/>
        </p:nvSpPr>
        <p:spPr bwMode="auto">
          <a:xfrm>
            <a:off x="8497666" y="2019001"/>
            <a:ext cx="2326354" cy="196311"/>
          </a:xfrm>
          <a:prstGeom prst="rect">
            <a:avLst/>
          </a:prstGeom>
          <a:solidFill>
            <a:schemeClr val="bg1"/>
          </a:solidFill>
          <a:ln w="9525" cap="flat" cmpd="sng" algn="ctr">
            <a:solidFill>
              <a:srgbClr val="0111A2"/>
            </a:solidFill>
            <a:prstDash val="solid"/>
            <a:round/>
            <a:headEnd type="none" w="med" len="med"/>
            <a:tailEnd type="none" w="med" len="med"/>
          </a:ln>
          <a:effectLst/>
        </p:spPr>
        <p:txBody>
          <a:bodyPr vert="horz" wrap="square" lIns="88751" tIns="44375" rIns="88751" bIns="44375" numCol="1" rtlCol="0" anchor="ctr" anchorCtr="0" compatLnSpc="1">
            <a:prstTxWarp prst="textNoShape">
              <a:avLst/>
            </a:prstTxWarp>
          </a:bodyPr>
          <a:lstStyle/>
          <a:p>
            <a:pPr algn="ctr" defTabSz="887553" eaLnBrk="0" fontAlgn="base" hangingPunct="0">
              <a:spcBef>
                <a:spcPct val="0"/>
              </a:spcBef>
              <a:spcAft>
                <a:spcPct val="0"/>
              </a:spcAft>
              <a:defRPr/>
            </a:pPr>
            <a:r>
              <a:rPr lang="en-US" sz="1200" b="1">
                <a:solidFill>
                  <a:srgbClr val="3F5073"/>
                </a:solidFill>
                <a:latin typeface="Open Sans Bold" panose="020B0806030504020204" pitchFamily="34" charset="0"/>
                <a:ea typeface="Open Sans Bold" panose="020B0806030504020204" pitchFamily="34" charset="0"/>
                <a:cs typeface="Open Sans Bold" panose="020B0806030504020204" pitchFamily="34" charset="0"/>
              </a:rPr>
              <a:t>Data Marts</a:t>
            </a:r>
          </a:p>
        </p:txBody>
      </p:sp>
      <p:cxnSp>
        <p:nvCxnSpPr>
          <p:cNvPr id="253" name="Straight Arrow Connector 12"/>
          <p:cNvCxnSpPr/>
          <p:nvPr/>
        </p:nvCxnSpPr>
        <p:spPr bwMode="auto">
          <a:xfrm>
            <a:off x="8614617" y="2232798"/>
            <a:ext cx="0" cy="158455"/>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254" name="Straight Arrow Connector 13"/>
          <p:cNvCxnSpPr/>
          <p:nvPr/>
        </p:nvCxnSpPr>
        <p:spPr bwMode="auto">
          <a:xfrm>
            <a:off x="9197220" y="2232798"/>
            <a:ext cx="0" cy="158455"/>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255" name="Straight Arrow Connector 14"/>
          <p:cNvCxnSpPr/>
          <p:nvPr/>
        </p:nvCxnSpPr>
        <p:spPr bwMode="auto">
          <a:xfrm>
            <a:off x="9965560" y="2232798"/>
            <a:ext cx="0" cy="158455"/>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256" name="Straight Arrow Connector 15"/>
          <p:cNvCxnSpPr/>
          <p:nvPr/>
        </p:nvCxnSpPr>
        <p:spPr bwMode="auto">
          <a:xfrm>
            <a:off x="10657340" y="2232798"/>
            <a:ext cx="0" cy="158455"/>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cxnSp>
        <p:nvCxnSpPr>
          <p:cNvPr id="257" name="Straight Arrow Connector 15"/>
          <p:cNvCxnSpPr>
            <a:cxnSpLocks/>
          </p:cNvCxnSpPr>
          <p:nvPr/>
        </p:nvCxnSpPr>
        <p:spPr bwMode="auto">
          <a:xfrm flipV="1">
            <a:off x="6711930" y="2112910"/>
            <a:ext cx="1290026" cy="25555"/>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sp>
        <p:nvSpPr>
          <p:cNvPr id="258" name="TextBox 9"/>
          <p:cNvSpPr txBox="1"/>
          <p:nvPr/>
        </p:nvSpPr>
        <p:spPr>
          <a:xfrm>
            <a:off x="6927309" y="1692362"/>
            <a:ext cx="903492" cy="950446"/>
          </a:xfrm>
          <a:prstGeom prst="rect">
            <a:avLst/>
          </a:prstGeom>
          <a:solidFill>
            <a:srgbClr val="F86F35"/>
          </a:solidFill>
          <a:ln w="9525" cap="flat" cmpd="sng" algn="ctr">
            <a:noFill/>
            <a:prstDash val="solid"/>
            <a:round/>
            <a:headEnd type="none" w="med" len="med"/>
            <a:tailEnd type="none" w="med" len="med"/>
          </a:ln>
          <a:effectLst/>
        </p:spPr>
        <p:txBody>
          <a:bodyPr rot="0" spcFirstLastPara="0" vertOverflow="overflow" horzOverflow="overflow" vert="horz" wrap="square" lIns="18288" tIns="44375" rIns="18288" bIns="44375" numCol="1" spcCol="0" rtlCol="0" fromWordArt="0" anchor="t" anchorCtr="0" forceAA="0" compatLnSpc="1">
            <a:prstTxWarp prst="textNoShape">
              <a:avLst/>
            </a:prstTxWarp>
            <a:noAutofit/>
          </a:bodyPr>
          <a:lstStyle>
            <a:defPPr>
              <a:defRPr lang="en-US"/>
            </a:defPPr>
            <a:lvl1pPr eaLnBrk="0" hangingPunct="0">
              <a:defRPr sz="1400" b="1">
                <a:latin typeface="+mj-lt"/>
                <a:ea typeface="ＭＳ Ｐゴシック"/>
                <a:cs typeface="ＭＳ Ｐゴシック"/>
              </a:defRPr>
            </a:lvl1pPr>
          </a:lstStyle>
          <a:p>
            <a:pPr marL="0" marR="0" lvl="0" indent="0" algn="ctr" defTabSz="887553" rtl="0" eaLnBrk="0" fontAlgn="base" latinLnBrk="0" hangingPunct="0">
              <a:lnSpc>
                <a:spcPct val="100000"/>
              </a:lnSpc>
              <a:spcBef>
                <a:spcPct val="0"/>
              </a:spcBef>
              <a:spcAft>
                <a:spcPct val="0"/>
              </a:spcAft>
              <a:buClrTx/>
              <a:buSzTx/>
              <a:buFontTx/>
              <a:buNone/>
              <a:tabLst/>
              <a:defRPr/>
            </a:pPr>
            <a:endParaRPr kumimoji="0" lang="en-US" sz="1360" b="1" i="0" u="none" strike="noStrike" kern="1200" cap="none" spc="0" normalizeH="0" baseline="0" noProof="0">
              <a:ln>
                <a:noFill/>
              </a:ln>
              <a:solidFill>
                <a:srgbClr val="000000"/>
              </a:solidFill>
              <a:effectLst/>
              <a:uLnTx/>
              <a:uFillTx/>
              <a:latin typeface="Arial"/>
              <a:ea typeface="ＭＳ Ｐゴシック"/>
            </a:endParaRPr>
          </a:p>
          <a:p>
            <a:pPr algn="ctr" defTabSz="887553" fontAlgn="base">
              <a:spcBef>
                <a:spcPct val="0"/>
              </a:spcBef>
              <a:spcAft>
                <a:spcPct val="0"/>
              </a:spcAft>
              <a:defRPr/>
            </a:pPr>
            <a:r>
              <a:rPr lang="en-US" sz="1200">
                <a:solidFill>
                  <a:schemeClr val="bg1"/>
                </a:solidFill>
                <a:latin typeface="Open Sans Bold" panose="020B0806030504020204" pitchFamily="34" charset="0"/>
                <a:ea typeface="Open Sans Bold" panose="020B0806030504020204" pitchFamily="34" charset="0"/>
                <a:cs typeface="Open Sans Bold" panose="020B0806030504020204" pitchFamily="34" charset="0"/>
              </a:rPr>
              <a:t>STAGING</a:t>
            </a:r>
          </a:p>
          <a:p>
            <a:pPr algn="ctr" defTabSz="887553" fontAlgn="base">
              <a:spcBef>
                <a:spcPct val="0"/>
              </a:spcBef>
              <a:spcAft>
                <a:spcPct val="0"/>
              </a:spcAft>
              <a:defRPr/>
            </a:pPr>
            <a:r>
              <a:rPr lang="en-US" sz="9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rPr>
              <a:t>Data consolidation</a:t>
            </a:r>
          </a:p>
        </p:txBody>
      </p:sp>
      <p:sp>
        <p:nvSpPr>
          <p:cNvPr id="259" name="Rectangle 148"/>
          <p:cNvSpPr/>
          <p:nvPr/>
        </p:nvSpPr>
        <p:spPr>
          <a:xfrm>
            <a:off x="3733178" y="3855061"/>
            <a:ext cx="1429000" cy="553998"/>
          </a:xfrm>
          <a:prstGeom prst="rect">
            <a:avLst/>
          </a:prstGeom>
          <a:solidFill>
            <a:schemeClr val="bg2">
              <a:lumMod val="60000"/>
              <a:lumOff val="40000"/>
            </a:schemeClr>
          </a:solidFill>
          <a:ln>
            <a:noFill/>
          </a:ln>
        </p:spPr>
        <p:txBody>
          <a:bodyPr wrap="square" lIns="17750" tIns="0" rIns="17750" bIns="0">
            <a:spAutoFit/>
          </a:bodyPr>
          <a:lstStyle/>
          <a:p>
            <a:pPr marR="0" lvl="0" indent="0" algn="ctr" defTabSz="887553" eaLnBrk="0" fontAlgn="base" hangingPunct="0">
              <a:lnSpc>
                <a:spcPct val="100000"/>
              </a:lnSpc>
              <a:spcBef>
                <a:spcPct val="0"/>
              </a:spcBef>
              <a:spcAft>
                <a:spcPct val="0"/>
              </a:spcAft>
              <a:buClrTx/>
              <a:buSzTx/>
              <a:buFontTx/>
              <a:buNone/>
              <a:tabLst/>
              <a:defRPr/>
            </a:pPr>
            <a:r>
              <a:rPr lang="en-US" sz="1200">
                <a:solidFill>
                  <a:srgbClr val="3F5073"/>
                </a:solidFill>
                <a:latin typeface="Open Sans Bold" panose="020B0806030504020204" pitchFamily="34" charset="0"/>
                <a:ea typeface="Open Sans Bold" panose="020B0806030504020204" pitchFamily="34" charset="0"/>
                <a:cs typeface="Open Sans Bold" panose="020B0806030504020204" pitchFamily="34" charset="0"/>
              </a:rPr>
              <a:t>ETL for GL and Central repositories</a:t>
            </a:r>
          </a:p>
        </p:txBody>
      </p:sp>
      <p:cxnSp>
        <p:nvCxnSpPr>
          <p:cNvPr id="261" name="Straight Arrow Connector 15"/>
          <p:cNvCxnSpPr/>
          <p:nvPr/>
        </p:nvCxnSpPr>
        <p:spPr bwMode="auto">
          <a:xfrm>
            <a:off x="3005467" y="3007098"/>
            <a:ext cx="504000" cy="0"/>
          </a:xfrm>
          <a:prstGeom prst="straightConnector1">
            <a:avLst/>
          </a:prstGeom>
          <a:solidFill>
            <a:schemeClr val="accent1"/>
          </a:solidFill>
          <a:ln w="19050" cap="flat" cmpd="sng" algn="ctr">
            <a:solidFill>
              <a:srgbClr val="3F5073"/>
            </a:solidFill>
            <a:prstDash val="solid"/>
            <a:round/>
            <a:headEnd type="none" w="med" len="med"/>
            <a:tailEnd type="triangle"/>
          </a:ln>
          <a:effectLst/>
        </p:spPr>
      </p:cxnSp>
      <p:cxnSp>
        <p:nvCxnSpPr>
          <p:cNvPr id="262" name="30 Conector recto de flecha"/>
          <p:cNvCxnSpPr>
            <a:cxnSpLocks/>
          </p:cNvCxnSpPr>
          <p:nvPr/>
        </p:nvCxnSpPr>
        <p:spPr bwMode="auto">
          <a:xfrm>
            <a:off x="9681246" y="3110975"/>
            <a:ext cx="0" cy="328096"/>
          </a:xfrm>
          <a:prstGeom prst="straightConnector1">
            <a:avLst/>
          </a:prstGeom>
          <a:solidFill>
            <a:schemeClr val="accent1"/>
          </a:solidFill>
          <a:ln w="19050" cap="flat" cmpd="sng" algn="ctr">
            <a:solidFill>
              <a:schemeClr val="tx1"/>
            </a:solidFill>
            <a:prstDash val="solid"/>
            <a:round/>
            <a:headEnd type="none" w="med" len="med"/>
            <a:tailEnd type="arrow"/>
          </a:ln>
          <a:effectLst/>
        </p:spPr>
      </p:cxnSp>
      <p:cxnSp>
        <p:nvCxnSpPr>
          <p:cNvPr id="263" name="Elbow Connector 86"/>
          <p:cNvCxnSpPr>
            <a:cxnSpLocks/>
            <a:endCxn id="258" idx="0"/>
          </p:cNvCxnSpPr>
          <p:nvPr/>
        </p:nvCxnSpPr>
        <p:spPr bwMode="auto">
          <a:xfrm>
            <a:off x="6398175" y="996362"/>
            <a:ext cx="980880" cy="696000"/>
          </a:xfrm>
          <a:prstGeom prst="bentConnector2">
            <a:avLst/>
          </a:prstGeom>
          <a:solidFill>
            <a:schemeClr val="accent1"/>
          </a:solidFill>
          <a:ln w="19050" cap="flat" cmpd="sng" algn="ctr">
            <a:solidFill>
              <a:srgbClr val="F86F35"/>
            </a:solidFill>
            <a:prstDash val="sysDash"/>
            <a:round/>
            <a:headEnd type="none" w="med" len="med"/>
            <a:tailEnd type="triangle"/>
          </a:ln>
          <a:effectLst/>
        </p:spPr>
      </p:cxnSp>
      <p:cxnSp>
        <p:nvCxnSpPr>
          <p:cNvPr id="266" name="Conector recto de flecha 265"/>
          <p:cNvCxnSpPr/>
          <p:nvPr/>
        </p:nvCxnSpPr>
        <p:spPr bwMode="auto">
          <a:xfrm>
            <a:off x="3035896" y="1799583"/>
            <a:ext cx="484581" cy="0"/>
          </a:xfrm>
          <a:prstGeom prst="straightConnector1">
            <a:avLst/>
          </a:prstGeom>
          <a:ln w="19050">
            <a:solidFill>
              <a:srgbClr val="3F5073"/>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276" name="Rectangle 2"/>
          <p:cNvSpPr txBox="1">
            <a:spLocks noChangeArrowheads="1"/>
          </p:cNvSpPr>
          <p:nvPr/>
        </p:nvSpPr>
        <p:spPr bwMode="auto">
          <a:xfrm>
            <a:off x="1243519" y="140562"/>
            <a:ext cx="9704962" cy="653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91435" tIns="45718" rIns="91435" bIns="45718" numCol="1" anchor="b" anchorCtr="0" compatLnSpc="1">
            <a:prstTxWarp prst="textNoShape">
              <a:avLst/>
            </a:prstTxWarp>
          </a:bodyPr>
          <a:lstStyle>
            <a:lvl1pPr algn="l" rtl="0" eaLnBrk="0" fontAlgn="base" hangingPunct="0">
              <a:lnSpc>
                <a:spcPct val="80000"/>
              </a:lnSpc>
              <a:spcBef>
                <a:spcPct val="0"/>
              </a:spcBef>
              <a:spcAft>
                <a:spcPct val="0"/>
              </a:spcAft>
              <a:defRPr sz="3200" b="1" i="1">
                <a:solidFill>
                  <a:srgbClr val="DF0031"/>
                </a:solidFill>
                <a:effectLst>
                  <a:outerShdw blurRad="38100" dist="38100" dir="2700000" algn="tl">
                    <a:srgbClr val="C0C0C0"/>
                  </a:outerShdw>
                </a:effectLst>
                <a:latin typeface="+mj-lt"/>
                <a:ea typeface="+mj-ea"/>
                <a:cs typeface="+mj-cs"/>
              </a:defRPr>
            </a:lvl1pPr>
            <a:lvl2pPr algn="l" rtl="0" eaLnBrk="0" fontAlgn="base" hangingPunct="0">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2pPr>
            <a:lvl3pPr algn="l" rtl="0" eaLnBrk="0" fontAlgn="base" hangingPunct="0">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3pPr>
            <a:lvl4pPr algn="l" rtl="0" eaLnBrk="0" fontAlgn="base" hangingPunct="0">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4pPr>
            <a:lvl5pPr algn="l" rtl="0" eaLnBrk="0" fontAlgn="base" hangingPunct="0">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5pPr>
            <a:lvl6pPr marL="457200" algn="l" rtl="0" fontAlgn="base">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6pPr>
            <a:lvl7pPr marL="914400" algn="l" rtl="0" fontAlgn="base">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7pPr>
            <a:lvl8pPr marL="1371600" algn="l" rtl="0" fontAlgn="base">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8pPr>
            <a:lvl9pPr marL="1828800" algn="l" rtl="0" fontAlgn="base">
              <a:lnSpc>
                <a:spcPct val="80000"/>
              </a:lnSpc>
              <a:spcBef>
                <a:spcPct val="0"/>
              </a:spcBef>
              <a:spcAft>
                <a:spcPct val="0"/>
              </a:spcAft>
              <a:defRPr sz="3200" b="1" i="1">
                <a:solidFill>
                  <a:srgbClr val="DF0031"/>
                </a:solidFill>
                <a:effectLst>
                  <a:outerShdw blurRad="38100" dist="38100" dir="2700000" algn="tl">
                    <a:srgbClr val="C0C0C0"/>
                  </a:outerShdw>
                </a:effectLst>
                <a:latin typeface="Arial" charset="0"/>
              </a:defRPr>
            </a:lvl9pPr>
          </a:lstStyle>
          <a:p>
            <a:pPr marR="0" lvl="0" algn="ctr" eaLnBrk="1" fontAlgn="base" hangingPunct="1">
              <a:lnSpc>
                <a:spcPct val="90000"/>
              </a:lnSpc>
              <a:spcBef>
                <a:spcPts val="300"/>
              </a:spcBef>
              <a:spcAft>
                <a:spcPts val="300"/>
              </a:spcAft>
              <a:buClrTx/>
              <a:buSzTx/>
              <a:tabLst/>
              <a:defRPr/>
            </a:pPr>
            <a:r>
              <a:rPr lang="en-US" sz="2000" b="0" i="0">
                <a:solidFill>
                  <a:srgbClr val="F86F35"/>
                </a:solidFill>
                <a:effectLst/>
                <a:latin typeface="Open Sans ExtraBold" panose="020B0906030804020204" pitchFamily="34" charset="0"/>
                <a:ea typeface="Open Sans ExtraBold" panose="020B0906030804020204" pitchFamily="34" charset="0"/>
                <a:cs typeface="Open Sans ExtraBold" panose="020B0906030804020204" pitchFamily="34" charset="0"/>
              </a:rPr>
              <a:t>BANKING SYSTEMS DELIVERY MODEL OPPORTUNITIES ENVIRONMENT AND DATA CHALLENGES</a:t>
            </a:r>
          </a:p>
        </p:txBody>
      </p:sp>
      <p:sp>
        <p:nvSpPr>
          <p:cNvPr id="2" name="TextBox 3">
            <a:extLst>
              <a:ext uri="{FF2B5EF4-FFF2-40B4-BE49-F238E27FC236}">
                <a16:creationId xmlns:a16="http://schemas.microsoft.com/office/drawing/2014/main" id="{0D6373D5-8525-9399-7B1A-BAC89426AFEF}"/>
              </a:ext>
            </a:extLst>
          </p:cNvPr>
          <p:cNvSpPr txBox="1"/>
          <p:nvPr/>
        </p:nvSpPr>
        <p:spPr>
          <a:xfrm>
            <a:off x="10763730" y="8765137"/>
            <a:ext cx="1308934" cy="276999"/>
          </a:xfrm>
          <a:prstGeom prst="rect">
            <a:avLst/>
          </a:prstGeom>
          <a:noFill/>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lumMod val="75000"/>
                  </a:srgbClr>
                </a:solidFill>
                <a:effectLst/>
                <a:uLnTx/>
                <a:uFillTx/>
                <a:latin typeface="Calibri" pitchFamily="34" charset="0"/>
                <a:ea typeface="MS PGothic"/>
                <a:cs typeface="+mn-cs"/>
              </a:rPr>
              <a:t>Confidential</a:t>
            </a:r>
          </a:p>
        </p:txBody>
      </p:sp>
      <p:sp>
        <p:nvSpPr>
          <p:cNvPr id="8" name="Rectangle 3">
            <a:extLst>
              <a:ext uri="{FF2B5EF4-FFF2-40B4-BE49-F238E27FC236}">
                <a16:creationId xmlns:a16="http://schemas.microsoft.com/office/drawing/2014/main" id="{D912D6BA-D36D-CE0A-E939-66302C1D595B}"/>
              </a:ext>
            </a:extLst>
          </p:cNvPr>
          <p:cNvSpPr>
            <a:spLocks noChangeArrowheads="1"/>
          </p:cNvSpPr>
          <p:nvPr/>
        </p:nvSpPr>
        <p:spPr bwMode="auto">
          <a:xfrm>
            <a:off x="551384" y="7353837"/>
            <a:ext cx="11017224"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899829" rIns="91440"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S PGothic"/>
                <a:cs typeface="Segoe UI" panose="020B0502040204020203" pitchFamily="34" charset="0"/>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S PGothic"/>
              <a:cs typeface="+mn-cs"/>
            </a:endParaRPr>
          </a:p>
        </p:txBody>
      </p:sp>
      <p:sp>
        <p:nvSpPr>
          <p:cNvPr id="222" name="TextBox 156"/>
          <p:cNvSpPr txBox="1"/>
          <p:nvPr/>
        </p:nvSpPr>
        <p:spPr>
          <a:xfrm>
            <a:off x="8092384" y="2559619"/>
            <a:ext cx="880090" cy="369332"/>
          </a:xfrm>
          <a:prstGeom prst="rect">
            <a:avLst/>
          </a:prstGeom>
          <a:noFill/>
        </p:spPr>
        <p:txBody>
          <a:bodyPr wrap="square" rtlCol="0">
            <a:spAutoFit/>
          </a:bodyPr>
          <a:lstStyle/>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Regulatory </a:t>
            </a:r>
          </a:p>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Reports</a:t>
            </a:r>
          </a:p>
        </p:txBody>
      </p:sp>
      <p:sp>
        <p:nvSpPr>
          <p:cNvPr id="240" name="TextBox 166"/>
          <p:cNvSpPr txBox="1"/>
          <p:nvPr/>
        </p:nvSpPr>
        <p:spPr>
          <a:xfrm>
            <a:off x="8882242" y="2605786"/>
            <a:ext cx="711055" cy="276999"/>
          </a:xfrm>
          <a:prstGeom prst="rect">
            <a:avLst/>
          </a:prstGeom>
          <a:noFill/>
        </p:spPr>
        <p:txBody>
          <a:bodyPr wrap="square" lIns="0" tIns="0" rIns="0" bIns="0" rtlCol="0">
            <a:spAutoFit/>
          </a:bodyPr>
          <a:lstStyle/>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Finance </a:t>
            </a:r>
          </a:p>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Reports</a:t>
            </a:r>
          </a:p>
        </p:txBody>
      </p:sp>
      <p:sp>
        <p:nvSpPr>
          <p:cNvPr id="241" name="TextBox 166"/>
          <p:cNvSpPr txBox="1"/>
          <p:nvPr/>
        </p:nvSpPr>
        <p:spPr>
          <a:xfrm>
            <a:off x="9294539" y="2605786"/>
            <a:ext cx="1342042" cy="276999"/>
          </a:xfrm>
          <a:prstGeom prst="rect">
            <a:avLst/>
          </a:prstGeom>
          <a:noFill/>
        </p:spPr>
        <p:txBody>
          <a:bodyPr wrap="square" lIns="0" tIns="0" rIns="0" bIns="0" rtlCol="0">
            <a:spAutoFit/>
          </a:bodyPr>
          <a:lstStyle/>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Operational</a:t>
            </a:r>
          </a:p>
          <a:p>
            <a:pPr marL="0" marR="0" lvl="0" indent="0" algn="ctr" defTabSz="887553" rtl="0" eaLnBrk="1" fontAlgn="base" latinLnBrk="0" hangingPunct="1">
              <a:lnSpc>
                <a:spcPct val="100000"/>
              </a:lnSpc>
              <a:spcBef>
                <a:spcPct val="0"/>
              </a:spcBef>
              <a:spcAft>
                <a:spcPct val="0"/>
              </a:spcAft>
              <a:buClrTx/>
              <a:buSzTx/>
              <a:buFontTx/>
              <a:buNone/>
              <a:tabLst/>
              <a:defRPr/>
            </a:pPr>
            <a:r>
              <a:rPr lang="en-US" sz="900" b="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Reports</a:t>
            </a:r>
          </a:p>
        </p:txBody>
      </p:sp>
    </p:spTree>
    <p:extLst>
      <p:ext uri="{BB962C8B-B14F-4D97-AF65-F5344CB8AC3E}">
        <p14:creationId xmlns:p14="http://schemas.microsoft.com/office/powerpoint/2010/main" val="316422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39EE0935-EC8B-334F-2F8E-7A330792DF6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6BBCEB-CF16-8747-2CBA-09D94BD2BA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626BBCEB-CF16-8747-2CBA-09D94BD2B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7EAE94E0-4008-7B97-CE98-D282578E0BA9}"/>
              </a:ext>
            </a:extLst>
          </p:cNvPr>
          <p:cNvSpPr>
            <a:spLocks noGrp="1"/>
          </p:cNvSpPr>
          <p:nvPr>
            <p:ph type="body" sz="quarter" idx="13"/>
          </p:nvPr>
        </p:nvSpPr>
        <p:spPr/>
        <p:txBody>
          <a:bodyPr vert="horz" lIns="91440" tIns="45720" rIns="91440" bIns="45720" rtlCol="0">
            <a:normAutofit/>
          </a:bodyPr>
          <a:lstStyle/>
          <a:p>
            <a:r>
              <a:rPr lang="en-US">
                <a:solidFill>
                  <a:srgbClr val="F86F35"/>
                </a:solidFill>
                <a:latin typeface="Open Sans ExtraBold" panose="020B0906030804020204" pitchFamily="34" charset="0"/>
                <a:ea typeface="Open Sans ExtraBold" panose="020B0906030804020204" pitchFamily="34" charset="0"/>
                <a:cs typeface="Open Sans ExtraBold" panose="020B0906030804020204" pitchFamily="34" charset="0"/>
              </a:rPr>
              <a:t>QA AGILE USING AI</a:t>
            </a:r>
          </a:p>
        </p:txBody>
      </p:sp>
      <p:graphicFrame>
        <p:nvGraphicFramePr>
          <p:cNvPr id="5" name="Tabla 4">
            <a:extLst>
              <a:ext uri="{FF2B5EF4-FFF2-40B4-BE49-F238E27FC236}">
                <a16:creationId xmlns:a16="http://schemas.microsoft.com/office/drawing/2014/main" id="{A9CF14BE-414F-5C0B-B613-74AF64DAD3DB}"/>
              </a:ext>
            </a:extLst>
          </p:cNvPr>
          <p:cNvGraphicFramePr>
            <a:graphicFrameLocks noGrp="1"/>
          </p:cNvGraphicFramePr>
          <p:nvPr>
            <p:extLst>
              <p:ext uri="{D42A27DB-BD31-4B8C-83A1-F6EECF244321}">
                <p14:modId xmlns:p14="http://schemas.microsoft.com/office/powerpoint/2010/main" val="4241908928"/>
              </p:ext>
            </p:extLst>
          </p:nvPr>
        </p:nvGraphicFramePr>
        <p:xfrm>
          <a:off x="1452000" y="1253066"/>
          <a:ext cx="9288000" cy="4818874"/>
        </p:xfrm>
        <a:graphic>
          <a:graphicData uri="http://schemas.openxmlformats.org/drawingml/2006/table">
            <a:tbl>
              <a:tblPr bandRow="1">
                <a:tableStyleId>{5C22544A-7EE6-4342-B048-85BDC9FD1C3A}</a:tableStyleId>
              </a:tblPr>
              <a:tblGrid>
                <a:gridCol w="1800000">
                  <a:extLst>
                    <a:ext uri="{9D8B030D-6E8A-4147-A177-3AD203B41FA5}">
                      <a16:colId xmlns:a16="http://schemas.microsoft.com/office/drawing/2014/main" val="3637634393"/>
                    </a:ext>
                  </a:extLst>
                </a:gridCol>
                <a:gridCol w="4536000">
                  <a:extLst>
                    <a:ext uri="{9D8B030D-6E8A-4147-A177-3AD203B41FA5}">
                      <a16:colId xmlns:a16="http://schemas.microsoft.com/office/drawing/2014/main" val="2069110745"/>
                    </a:ext>
                  </a:extLst>
                </a:gridCol>
                <a:gridCol w="2952000">
                  <a:extLst>
                    <a:ext uri="{9D8B030D-6E8A-4147-A177-3AD203B41FA5}">
                      <a16:colId xmlns:a16="http://schemas.microsoft.com/office/drawing/2014/main" val="598953807"/>
                    </a:ext>
                  </a:extLst>
                </a:gridCol>
              </a:tblGrid>
              <a:tr h="432000">
                <a:tc>
                  <a:txBody>
                    <a:bodyPr/>
                    <a:lstStyle/>
                    <a:p>
                      <a:pPr algn="l" fontAlgn="base">
                        <a:lnSpc>
                          <a:spcPct val="120000"/>
                        </a:lnSpc>
                        <a:buNone/>
                      </a:pPr>
                      <a:r>
                        <a:rPr lang="en-US" sz="1400" b="1" i="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Stag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B43FB"/>
                    </a:solidFill>
                  </a:tcPr>
                </a:tc>
                <a:tc>
                  <a:txBody>
                    <a:bodyPr/>
                    <a:lstStyle/>
                    <a:p>
                      <a:pPr algn="l" fontAlgn="base">
                        <a:lnSpc>
                          <a:spcPct val="120000"/>
                        </a:lnSpc>
                        <a:buNone/>
                      </a:pPr>
                      <a:r>
                        <a:rPr lang="en-US" sz="1400" b="1" i="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QA Activity</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B43FB"/>
                    </a:solidFill>
                  </a:tcPr>
                </a:tc>
                <a:tc>
                  <a:txBody>
                    <a:bodyPr/>
                    <a:lstStyle/>
                    <a:p>
                      <a:pPr algn="l" fontAlgn="base">
                        <a:lnSpc>
                          <a:spcPct val="120000"/>
                        </a:lnSpc>
                        <a:buNone/>
                      </a:pPr>
                      <a:r>
                        <a:rPr lang="en-US" sz="1400" b="1" i="0" noProof="0">
                          <a:solidFill>
                            <a:schemeClr val="bg1"/>
                          </a:solidFill>
                          <a:effectLst/>
                          <a:latin typeface="Open Sans" panose="020B0606030504020204" pitchFamily="34" charset="0"/>
                          <a:ea typeface="Open Sans" panose="020B0606030504020204" pitchFamily="34" charset="0"/>
                          <a:cs typeface="Open Sans" panose="020B0606030504020204" pitchFamily="34" charset="0"/>
                        </a:rPr>
                        <a:t>Tool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B43FB"/>
                    </a:solidFill>
                  </a:tcPr>
                </a:tc>
                <a:extLst>
                  <a:ext uri="{0D108BD9-81ED-4DB2-BD59-A6C34878D82A}">
                    <a16:rowId xmlns:a16="http://schemas.microsoft.com/office/drawing/2014/main" val="699195222"/>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Backlog Refinemen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Use GenAI to suggest test cases from acceptance criteria or user story description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GitHub Copilot (for test case drafts),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6345724"/>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Sprint Plannin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Auto-generate initial test cases and automation template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Copilot, GitHub Copilot,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8853079"/>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Developmen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Write unit tests, API tests, and UI test scripts with Copilot assistanc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GitHub Copilot,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7125539"/>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Continuous Testin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Automate and run tests in CI/CD, automatically fix minor test failures with A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GitHub, Jenkins, GitHub Copilot, Bitbucket, Selenium, UFT, Gherkin,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4680788"/>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Exploratory Testin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Use AI to generate random, high-risk test scenarios for manual testing.</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GitHub Copilot (scenario generation), Postman, Load Runner,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7652341"/>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Sprint Review</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Validate acceptance criteria, run AI-optimized regression tes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Postman, GitHub Copilot,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solidFill>
                        <a:srgbClr val="AFB7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9930458"/>
                  </a:ext>
                </a:extLst>
              </a:tr>
              <a:tr h="612000">
                <a:tc>
                  <a:txBody>
                    <a:bodyPr/>
                    <a:lstStyle/>
                    <a:p>
                      <a:pPr algn="l" fontAlgn="base">
                        <a:lnSpc>
                          <a:spcPct val="120000"/>
                        </a:lnSpc>
                        <a:spcBef>
                          <a:spcPts val="300"/>
                        </a:spcBef>
                        <a:spcAft>
                          <a:spcPts val="300"/>
                        </a:spcAft>
                        <a:buNone/>
                      </a:pPr>
                      <a:r>
                        <a:rPr lang="en-US" sz="1200" b="0" i="0" noProof="0">
                          <a:solidFill>
                            <a:srgbClr val="0111A2"/>
                          </a:solidFill>
                          <a:effectLst/>
                          <a:latin typeface="Open Sans SemiBold" panose="020B0706030804020204" pitchFamily="34" charset="0"/>
                          <a:ea typeface="Open Sans SemiBold" panose="020B0706030804020204" pitchFamily="34" charset="0"/>
                          <a:cs typeface="Open Sans SemiBold" panose="020B0706030804020204" pitchFamily="34" charset="0"/>
                        </a:rPr>
                        <a:t>Releas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Conduct AI-powered test generation for last-minute checks, monitor production.</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ase">
                        <a:lnSpc>
                          <a:spcPct val="120000"/>
                        </a:lnSpc>
                        <a:spcBef>
                          <a:spcPts val="300"/>
                        </a:spcBef>
                        <a:spcAft>
                          <a:spcPts val="300"/>
                        </a:spcAft>
                        <a:buNone/>
                      </a:pPr>
                      <a:r>
                        <a:rPr lang="en-US" sz="1200" b="0" i="0" noProof="0">
                          <a:solidFill>
                            <a:srgbClr val="3F5073"/>
                          </a:solidFill>
                          <a:effectLst/>
                          <a:latin typeface="Open Sans" panose="020B0606030504020204" pitchFamily="34" charset="0"/>
                          <a:ea typeface="Open Sans" panose="020B0606030504020204" pitchFamily="34" charset="0"/>
                          <a:cs typeface="Open Sans" panose="020B0606030504020204" pitchFamily="34" charset="0"/>
                        </a:rPr>
                        <a:t>GitHub Copilot, Atlassian Suite</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AFB7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5294021"/>
                  </a:ext>
                </a:extLst>
              </a:tr>
            </a:tbl>
          </a:graphicData>
        </a:graphic>
      </p:graphicFrame>
    </p:spTree>
    <p:extLst>
      <p:ext uri="{BB962C8B-B14F-4D97-AF65-F5344CB8AC3E}">
        <p14:creationId xmlns:p14="http://schemas.microsoft.com/office/powerpoint/2010/main" val="2642113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091FB393-648F-61A4-E191-F9E7A13B927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ABC81A-57B1-1BDA-5CAA-688304132E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61ABC81A-57B1-1BDA-5CAA-688304132E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2078283B-61D4-0BF2-588B-FBFB94923386}"/>
              </a:ext>
            </a:extLst>
          </p:cNvPr>
          <p:cNvSpPr>
            <a:spLocks noGrp="1"/>
          </p:cNvSpPr>
          <p:nvPr>
            <p:ph type="body" sz="quarter" idx="13"/>
          </p:nvPr>
        </p:nvSpPr>
        <p:spPr/>
        <p:txBody>
          <a:bodyPr/>
          <a:lstStyle/>
          <a:p>
            <a:r>
              <a:rPr lang="en-US">
                <a:solidFill>
                  <a:srgbClr val="F86F35"/>
                </a:solidFill>
                <a:latin typeface="Open Sans ExtraBold" panose="020B0906030804020204" pitchFamily="34" charset="0"/>
                <a:ea typeface="Open Sans ExtraBold" panose="020B0906030804020204" pitchFamily="34" charset="0"/>
                <a:cs typeface="Open Sans ExtraBold" panose="020B0906030804020204" pitchFamily="34" charset="0"/>
              </a:rPr>
              <a:t>HOW CAN STRATIS HELP CITIZENS BANK?</a:t>
            </a:r>
          </a:p>
        </p:txBody>
      </p:sp>
      <p:sp>
        <p:nvSpPr>
          <p:cNvPr id="3" name="Marcador de número de diapositiva 2">
            <a:extLst>
              <a:ext uri="{FF2B5EF4-FFF2-40B4-BE49-F238E27FC236}">
                <a16:creationId xmlns:a16="http://schemas.microsoft.com/office/drawing/2014/main" id="{C52637FE-0954-DF55-6F72-3B0A2D7741F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a:ln>
                  <a:noFill/>
                </a:ln>
                <a:solidFill>
                  <a:srgbClr val="FF8367"/>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MX" sz="1200" b="0" i="0" u="none" strike="noStrike" kern="1200" cap="none" spc="0" normalizeH="0" baseline="0" noProof="0">
              <a:ln>
                <a:noFill/>
              </a:ln>
              <a:solidFill>
                <a:srgbClr val="FF8367"/>
              </a:solidFill>
              <a:effectLst/>
              <a:uLnTx/>
              <a:uFillTx/>
              <a:latin typeface="Open Sans Light"/>
              <a:ea typeface="+mn-ea"/>
              <a:cs typeface="+mn-cs"/>
            </a:endParaRPr>
          </a:p>
        </p:txBody>
      </p:sp>
      <p:sp>
        <p:nvSpPr>
          <p:cNvPr id="11" name="CuadroTexto 4">
            <a:extLst>
              <a:ext uri="{FF2B5EF4-FFF2-40B4-BE49-F238E27FC236}">
                <a16:creationId xmlns:a16="http://schemas.microsoft.com/office/drawing/2014/main" id="{EE9BC494-4DF5-997F-D4AE-594CDAB295C9}"/>
              </a:ext>
            </a:extLst>
          </p:cNvPr>
          <p:cNvSpPr txBox="1"/>
          <p:nvPr/>
        </p:nvSpPr>
        <p:spPr>
          <a:xfrm>
            <a:off x="527517" y="1000226"/>
            <a:ext cx="11160000" cy="74148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lnSpc>
                <a:spcPct val="120000"/>
              </a:lnSpc>
              <a:spcBef>
                <a:spcPts val="600"/>
              </a:spcBef>
              <a:spcAft>
                <a:spcPts val="600"/>
              </a:spcAft>
            </a:pPr>
            <a:r>
              <a:rPr lang="en-US" sz="1200">
                <a:latin typeface="Open Sans" panose="020B0606030504020204" pitchFamily="34" charset="0"/>
                <a:ea typeface="Open Sans" panose="020B0606030504020204" pitchFamily="34" charset="0"/>
                <a:cs typeface="Open Sans" panose="020B0606030504020204" pitchFamily="34" charset="0"/>
              </a:rPr>
              <a:t>Stratis combines deep expertise in </a:t>
            </a:r>
            <a:r>
              <a:rPr lang="en-US" sz="1200" b="1">
                <a:solidFill>
                  <a:srgbClr val="F86F35"/>
                </a:solidFill>
                <a:latin typeface="Open Sans" panose="020B0606030504020204" pitchFamily="34" charset="0"/>
                <a:ea typeface="Open Sans" panose="020B0606030504020204" pitchFamily="34" charset="0"/>
                <a:cs typeface="Open Sans" panose="020B0606030504020204" pitchFamily="34" charset="0"/>
              </a:rPr>
              <a:t>banking, technology, and consulting </a:t>
            </a:r>
            <a:r>
              <a:rPr lang="en-US" sz="1200">
                <a:latin typeface="Open Sans" panose="020B0606030504020204" pitchFamily="34" charset="0"/>
                <a:ea typeface="Open Sans" panose="020B0606030504020204" pitchFamily="34" charset="0"/>
                <a:cs typeface="Open Sans" panose="020B0606030504020204" pitchFamily="34" charset="0"/>
              </a:rPr>
              <a:t>with flexible staffing and nearshoring solutions to accelerate Citizens Bank's digital transformation. By leveraging our specialized talent and nearshore capabilities, we enable Citizens Bank to innovate faster, reduce costs, and maintain a competitive edge.</a:t>
            </a:r>
          </a:p>
        </p:txBody>
      </p:sp>
      <p:sp>
        <p:nvSpPr>
          <p:cNvPr id="12" name="CuadroTexto 9">
            <a:extLst>
              <a:ext uri="{FF2B5EF4-FFF2-40B4-BE49-F238E27FC236}">
                <a16:creationId xmlns:a16="http://schemas.microsoft.com/office/drawing/2014/main" id="{ACCD9F5C-9DFD-C311-90D6-35D7435CD077}"/>
              </a:ext>
            </a:extLst>
          </p:cNvPr>
          <p:cNvSpPr txBox="1"/>
          <p:nvPr/>
        </p:nvSpPr>
        <p:spPr>
          <a:xfrm>
            <a:off x="1391517" y="1741711"/>
            <a:ext cx="10224000" cy="46730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Bef>
                <a:spcPts val="300"/>
              </a:spcBef>
              <a:spcAft>
                <a:spcPts val="300"/>
              </a:spcAft>
            </a:pPr>
            <a:endParaRPr lang="en-US" sz="1100" b="1">
              <a:solidFill>
                <a:srgbClr val="3B43FB"/>
              </a:solidFill>
              <a:latin typeface="Open Sans" panose="020B0606030504020204" pitchFamily="34" charset="0"/>
              <a:ea typeface="Open Sans" panose="020B0606030504020204" pitchFamily="34" charset="0"/>
              <a:cs typeface="Open Sans" panose="020B0606030504020204" pitchFamily="34" charset="0"/>
            </a:endParaRPr>
          </a:p>
          <a:p>
            <a:pPr>
              <a:lnSpc>
                <a:spcPct val="114000"/>
              </a:lnSpc>
              <a:spcBef>
                <a:spcPts val="300"/>
              </a:spcBef>
              <a:spcAft>
                <a:spcPts val="300"/>
              </a:spcAft>
            </a:pPr>
            <a:endParaRPr lang="en-US" sz="1200">
              <a:latin typeface="Open Sans" panose="020B0606030504020204" pitchFamily="34" charset="0"/>
              <a:ea typeface="Open Sans" panose="020B0606030504020204" pitchFamily="34" charset="0"/>
              <a:cs typeface="Open Sans" panose="020B0606030504020204" pitchFamily="34" charset="0"/>
            </a:endParaRPr>
          </a:p>
          <a:p>
            <a:pPr>
              <a:lnSpc>
                <a:spcPct val="114000"/>
              </a:lnSpc>
              <a:spcBef>
                <a:spcPts val="300"/>
              </a:spcBef>
              <a:spcAft>
                <a:spcPts val="300"/>
              </a:spcAft>
            </a:pPr>
            <a:r>
              <a:rPr lang="en-US" sz="1400" b="1">
                <a:solidFill>
                  <a:srgbClr val="0111A2"/>
                </a:solidFill>
                <a:latin typeface="Open Sans"/>
                <a:ea typeface="Open Sans"/>
                <a:cs typeface="Open Sans"/>
              </a:rPr>
              <a:t>QA AI Engineering:</a:t>
            </a:r>
          </a:p>
          <a:p>
            <a:pPr>
              <a:lnSpc>
                <a:spcPct val="114000"/>
              </a:lnSpc>
              <a:spcBef>
                <a:spcPts val="300"/>
              </a:spcBef>
              <a:spcAft>
                <a:spcPts val="300"/>
              </a:spcAft>
            </a:pPr>
            <a:r>
              <a:rPr lang="en-US" sz="1400">
                <a:solidFill>
                  <a:srgbClr val="0111A2"/>
                </a:solidFill>
                <a:latin typeface="Open Sans"/>
                <a:ea typeface="Open Sans"/>
                <a:cs typeface="Open Sans"/>
              </a:rPr>
              <a:t>Enhance Quality and Productivity</a:t>
            </a:r>
          </a:p>
          <a:p>
            <a:pPr>
              <a:lnSpc>
                <a:spcPct val="113999"/>
              </a:lnSpc>
              <a:spcBef>
                <a:spcPts val="300"/>
              </a:spcBef>
              <a:spcAft>
                <a:spcPts val="300"/>
              </a:spcAft>
            </a:pPr>
            <a:endParaRPr lang="en-US" sz="1400" b="1">
              <a:latin typeface="Open Sans"/>
              <a:ea typeface="Open Sans"/>
              <a:cs typeface="Open Sans"/>
            </a:endParaRPr>
          </a:p>
          <a:p>
            <a:pPr>
              <a:lnSpc>
                <a:spcPct val="113999"/>
              </a:lnSpc>
              <a:spcBef>
                <a:spcPts val="300"/>
              </a:spcBef>
              <a:spcAft>
                <a:spcPts val="300"/>
              </a:spcAft>
            </a:pPr>
            <a:r>
              <a:rPr lang="en-US" sz="1200" b="1">
                <a:latin typeface="Open Sans"/>
                <a:ea typeface="Open Sans"/>
                <a:cs typeface="Open Sans"/>
              </a:rPr>
              <a:t>Open to make a proposal that will ensure: </a:t>
            </a:r>
            <a:endParaRPr lang="en-US" sz="1200">
              <a:latin typeface="Open Sans" panose="020B0606030504020204" pitchFamily="34" charset="0"/>
              <a:ea typeface="Open Sans" panose="020B0606030504020204" pitchFamily="34" charset="0"/>
              <a:cs typeface="Open Sans" panose="020B0606030504020204" pitchFamily="34" charset="0"/>
            </a:endParaRPr>
          </a:p>
          <a:p>
            <a:pPr marL="628650" lvl="1" indent="-171450">
              <a:lnSpc>
                <a:spcPct val="113999"/>
              </a:lnSpc>
              <a:spcBef>
                <a:spcPts val="300"/>
              </a:spcBef>
              <a:spcAft>
                <a:spcPts val="300"/>
              </a:spcAft>
              <a:buFont typeface="Courier New,monospace"/>
              <a:buChar char="o"/>
            </a:pPr>
            <a:r>
              <a:rPr lang="en-US" sz="1200" b="1">
                <a:latin typeface="Open Sans"/>
                <a:ea typeface="Open Sans"/>
                <a:cs typeface="Open Sans"/>
              </a:rPr>
              <a:t>Progressive</a:t>
            </a:r>
            <a:r>
              <a:rPr lang="en-US" sz="1200">
                <a:latin typeface="Open Sans"/>
                <a:ea typeface="Open Sans"/>
                <a:cs typeface="Open Sans"/>
              </a:rPr>
              <a:t> productivity increase</a:t>
            </a:r>
          </a:p>
          <a:p>
            <a:pPr marL="1085850" lvl="2" indent="-171450">
              <a:lnSpc>
                <a:spcPct val="113999"/>
              </a:lnSpc>
              <a:spcBef>
                <a:spcPts val="300"/>
              </a:spcBef>
              <a:spcAft>
                <a:spcPts val="300"/>
              </a:spcAft>
              <a:buFont typeface="Courier New,monospace"/>
              <a:buChar char="o"/>
            </a:pPr>
            <a:r>
              <a:rPr lang="en-US" sz="1200">
                <a:latin typeface="Open Sans"/>
                <a:ea typeface="Open Sans"/>
                <a:cs typeface="Open Sans"/>
              </a:rPr>
              <a:t>Time savings: 20-60%*</a:t>
            </a:r>
          </a:p>
          <a:p>
            <a:pPr marL="1085850" lvl="2" indent="-171450">
              <a:lnSpc>
                <a:spcPct val="113999"/>
              </a:lnSpc>
              <a:spcBef>
                <a:spcPts val="300"/>
              </a:spcBef>
              <a:spcAft>
                <a:spcPts val="300"/>
              </a:spcAft>
              <a:buFont typeface="Courier New,monospace"/>
              <a:buChar char="o"/>
            </a:pPr>
            <a:r>
              <a:rPr lang="en-US" sz="1200">
                <a:latin typeface="Open Sans"/>
                <a:ea typeface="Open Sans"/>
                <a:cs typeface="Open Sans"/>
              </a:rPr>
              <a:t>Productivity increase between 20%-40%*</a:t>
            </a:r>
          </a:p>
          <a:p>
            <a:pPr marL="1085850" lvl="2" indent="-171450">
              <a:lnSpc>
                <a:spcPct val="113999"/>
              </a:lnSpc>
              <a:spcBef>
                <a:spcPts val="300"/>
              </a:spcBef>
              <a:spcAft>
                <a:spcPts val="300"/>
              </a:spcAft>
              <a:buFont typeface="Courier New,monospace"/>
              <a:buChar char="o"/>
            </a:pPr>
            <a:r>
              <a:rPr lang="en-US" sz="1200">
                <a:latin typeface="Open Sans"/>
                <a:ea typeface="Open Sans"/>
                <a:cs typeface="Open Sans"/>
              </a:rPr>
              <a:t>Increase in cost efficiency: 10%-35%+</a:t>
            </a:r>
          </a:p>
          <a:p>
            <a:pPr marL="628650" lvl="1" indent="-171450">
              <a:lnSpc>
                <a:spcPct val="114000"/>
              </a:lnSpc>
              <a:spcBef>
                <a:spcPts val="300"/>
              </a:spcBef>
              <a:spcAft>
                <a:spcPts val="300"/>
              </a:spcAft>
              <a:buFont typeface="Courier New,monospace"/>
              <a:buChar char="o"/>
            </a:pPr>
            <a:r>
              <a:rPr lang="en-US" sz="1200">
                <a:latin typeface="Open Sans"/>
                <a:ea typeface="Open Sans"/>
                <a:cs typeface="Open Sans"/>
              </a:rPr>
              <a:t>After our set up curve DER for critical defects= .2%; overall, DER &lt; 3%</a:t>
            </a:r>
          </a:p>
          <a:p>
            <a:pPr marL="628650" lvl="1" indent="-171450">
              <a:lnSpc>
                <a:spcPct val="113999"/>
              </a:lnSpc>
              <a:spcBef>
                <a:spcPts val="300"/>
              </a:spcBef>
              <a:spcAft>
                <a:spcPts val="300"/>
              </a:spcAft>
              <a:buFont typeface="Courier New,monospace"/>
              <a:buChar char="o"/>
            </a:pPr>
            <a:r>
              <a:rPr lang="en-US" sz="1200">
                <a:latin typeface="Open Sans"/>
                <a:ea typeface="Open Sans"/>
                <a:cs typeface="Open Sans"/>
              </a:rPr>
              <a:t>AI integrated for achieving increased productivity</a:t>
            </a:r>
          </a:p>
          <a:p>
            <a:pPr marL="628650" lvl="1" indent="-171450">
              <a:lnSpc>
                <a:spcPct val="114000"/>
              </a:lnSpc>
              <a:spcBef>
                <a:spcPts val="300"/>
              </a:spcBef>
              <a:spcAft>
                <a:spcPts val="300"/>
              </a:spcAft>
              <a:buFont typeface="Courier New,monospace"/>
              <a:buChar char="o"/>
            </a:pPr>
            <a:r>
              <a:rPr lang="en-US" sz="1200">
                <a:latin typeface="Open Sans"/>
                <a:ea typeface="Open Sans"/>
                <a:cs typeface="Open Sans"/>
              </a:rPr>
              <a:t>Reduce scripts automation Backlog</a:t>
            </a:r>
          </a:p>
          <a:p>
            <a:pPr marL="628650" lvl="1" indent="-171450">
              <a:lnSpc>
                <a:spcPct val="113999"/>
              </a:lnSpc>
              <a:spcBef>
                <a:spcPts val="300"/>
              </a:spcBef>
              <a:spcAft>
                <a:spcPts val="300"/>
              </a:spcAft>
              <a:buFont typeface="Courier New,monospace"/>
              <a:buChar char="o"/>
            </a:pPr>
            <a:r>
              <a:rPr lang="en-US" sz="1200">
                <a:latin typeface="Open Sans"/>
                <a:ea typeface="Open Sans"/>
                <a:cs typeface="Open Sans"/>
              </a:rPr>
              <a:t>Ready to subcontract Indian SME capacity/become subcontracted through a </a:t>
            </a:r>
            <a:r>
              <a:rPr lang="en-US" sz="1200" err="1">
                <a:latin typeface="Open Sans"/>
                <a:ea typeface="Open Sans"/>
                <a:cs typeface="Open Sans"/>
              </a:rPr>
              <a:t>Citize</a:t>
            </a:r>
            <a:r>
              <a:rPr lang="es-MX" sz="1200">
                <a:latin typeface="Open Sans"/>
                <a:ea typeface="Open Sans"/>
                <a:cs typeface="Open Sans"/>
              </a:rPr>
              <a:t>n </a:t>
            </a:r>
            <a:r>
              <a:rPr lang="es-MX" sz="1200" err="1">
                <a:latin typeface="Open Sans"/>
                <a:ea typeface="Open Sans"/>
                <a:cs typeface="Open Sans"/>
              </a:rPr>
              <a:t>Bank’s</a:t>
            </a:r>
            <a:r>
              <a:rPr lang="es-MX" sz="1200">
                <a:latin typeface="Open Sans"/>
                <a:ea typeface="Open Sans"/>
                <a:cs typeface="Open Sans"/>
              </a:rPr>
              <a:t> </a:t>
            </a:r>
            <a:r>
              <a:rPr lang="es-MX" sz="1200" err="1">
                <a:latin typeface="Open Sans"/>
                <a:ea typeface="Open Sans"/>
                <a:cs typeface="Open Sans"/>
              </a:rPr>
              <a:t>vendor</a:t>
            </a:r>
            <a:endParaRPr lang="en-US" sz="1200">
              <a:latin typeface="Open Sans"/>
              <a:ea typeface="Open Sans"/>
              <a:cs typeface="Open Sans"/>
            </a:endParaRPr>
          </a:p>
          <a:p>
            <a:pPr marL="1085850" lvl="2" indent="-171450">
              <a:lnSpc>
                <a:spcPct val="114000"/>
              </a:lnSpc>
              <a:spcBef>
                <a:spcPts val="300"/>
              </a:spcBef>
              <a:spcAft>
                <a:spcPts val="300"/>
              </a:spcAft>
              <a:buFont typeface="Wingdings"/>
              <a:buChar char="§"/>
            </a:pPr>
            <a:endParaRPr lang="es-MX" sz="1200">
              <a:latin typeface="Open Sans"/>
              <a:ea typeface="Open Sans"/>
              <a:cs typeface="Open Sans"/>
            </a:endParaRPr>
          </a:p>
          <a:p>
            <a:pPr>
              <a:lnSpc>
                <a:spcPct val="114000"/>
              </a:lnSpc>
              <a:spcBef>
                <a:spcPts val="300"/>
              </a:spcBef>
              <a:spcAft>
                <a:spcPts val="300"/>
              </a:spcAft>
            </a:pPr>
            <a:r>
              <a:rPr lang="en-US" sz="1100" b="1">
                <a:latin typeface="Open Sans SemiBold" panose="020B0706030804020204" pitchFamily="34" charset="0"/>
                <a:ea typeface="Open Sans SemiBold" panose="020B0706030804020204" pitchFamily="34" charset="0"/>
                <a:cs typeface="Open Sans SemiBold" panose="020B0706030804020204" pitchFamily="34" charset="0"/>
              </a:rPr>
              <a:t>* Depending on the Automation Adoption Maturity Level</a:t>
            </a:r>
          </a:p>
        </p:txBody>
      </p:sp>
      <p:pic>
        <p:nvPicPr>
          <p:cNvPr id="17" name="Picture 16" descr="A blue and white logo with arrows and a play button&#10;&#10;Description automatically generated">
            <a:extLst>
              <a:ext uri="{FF2B5EF4-FFF2-40B4-BE49-F238E27FC236}">
                <a16:creationId xmlns:a16="http://schemas.microsoft.com/office/drawing/2014/main" id="{D358B0E2-F158-29A9-618B-608462235F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3372" y="2196679"/>
            <a:ext cx="733834" cy="739681"/>
          </a:xfrm>
          <a:prstGeom prst="rect">
            <a:avLst/>
          </a:prstGeom>
        </p:spPr>
      </p:pic>
    </p:spTree>
    <p:extLst>
      <p:ext uri="{BB962C8B-B14F-4D97-AF65-F5344CB8AC3E}">
        <p14:creationId xmlns:p14="http://schemas.microsoft.com/office/powerpoint/2010/main" val="2108733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FB393-648F-61A4-E191-F9E7A13B927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ABC81A-57B1-1BDA-5CAA-688304132E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61ABC81A-57B1-1BDA-5CAA-688304132E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2078283B-61D4-0BF2-588B-FBFB94923386}"/>
              </a:ext>
            </a:extLst>
          </p:cNvPr>
          <p:cNvSpPr>
            <a:spLocks noGrp="1"/>
          </p:cNvSpPr>
          <p:nvPr>
            <p:ph type="body" sz="quarter" idx="13"/>
          </p:nvPr>
        </p:nvSpPr>
        <p:spPr/>
        <p:txBody>
          <a:bodyPr/>
          <a:lstStyle/>
          <a:p>
            <a:r>
              <a:rPr lang="en-US">
                <a:solidFill>
                  <a:srgbClr val="F86F35"/>
                </a:solidFill>
                <a:latin typeface="Open Sans ExtraBold" panose="020B0906030804020204" pitchFamily="34" charset="0"/>
                <a:ea typeface="Open Sans ExtraBold" panose="020B0906030804020204" pitchFamily="34" charset="0"/>
                <a:cs typeface="Open Sans ExtraBold" panose="020B0906030804020204" pitchFamily="34" charset="0"/>
              </a:rPr>
              <a:t>SUMMARY</a:t>
            </a:r>
          </a:p>
        </p:txBody>
      </p:sp>
      <p:sp>
        <p:nvSpPr>
          <p:cNvPr id="3" name="Marcador de número de diapositiva 2">
            <a:extLst>
              <a:ext uri="{FF2B5EF4-FFF2-40B4-BE49-F238E27FC236}">
                <a16:creationId xmlns:a16="http://schemas.microsoft.com/office/drawing/2014/main" id="{C52637FE-0954-DF55-6F72-3B0A2D7741F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a:ln>
                  <a:noFill/>
                </a:ln>
                <a:solidFill>
                  <a:srgbClr val="FF8367"/>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MX" sz="1200" b="0" i="0" u="none" strike="noStrike" kern="1200" cap="none" spc="0" normalizeH="0" baseline="0" noProof="0">
              <a:ln>
                <a:noFill/>
              </a:ln>
              <a:solidFill>
                <a:srgbClr val="FF8367"/>
              </a:solidFill>
              <a:effectLst/>
              <a:uLnTx/>
              <a:uFillTx/>
              <a:latin typeface="Open Sans Light"/>
              <a:ea typeface="+mn-ea"/>
              <a:cs typeface="+mn-cs"/>
            </a:endParaRPr>
          </a:p>
        </p:txBody>
      </p:sp>
      <p:sp>
        <p:nvSpPr>
          <p:cNvPr id="11" name="CuadroTexto 4">
            <a:extLst>
              <a:ext uri="{FF2B5EF4-FFF2-40B4-BE49-F238E27FC236}">
                <a16:creationId xmlns:a16="http://schemas.microsoft.com/office/drawing/2014/main" id="{EE9BC494-4DF5-997F-D4AE-594CDAB295C9}"/>
              </a:ext>
            </a:extLst>
          </p:cNvPr>
          <p:cNvSpPr txBox="1"/>
          <p:nvPr/>
        </p:nvSpPr>
        <p:spPr>
          <a:xfrm>
            <a:off x="527517" y="1000226"/>
            <a:ext cx="11160000" cy="69720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Citizens Bank provided an overview of their Testing Center of Excellence.</a:t>
            </a:r>
          </a:p>
          <a:p>
            <a:pPr marL="628650" lvl="1"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Aggressive automation strategy with a shift-left focus.</a:t>
            </a:r>
          </a:p>
          <a:p>
            <a:pPr marL="628650" lvl="1"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90% test case automation rate and 38% testing cycle-time reduction leading to $10m USD in savings.</a:t>
            </a:r>
          </a:p>
          <a:p>
            <a:pPr marL="628650" lvl="1"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Aiming to reduce escaped defects by expanding test coverage and addressing Test Data/Environment Management issues.</a:t>
            </a:r>
          </a:p>
          <a:p>
            <a:pPr marL="171450"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Stratis presented their end-to-end testing practice which leverages two key components:</a:t>
            </a:r>
          </a:p>
          <a:p>
            <a:pPr marL="628650" lvl="1"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A “Deep Design” methodology which has led to an Escaped Defect rate in Production &lt; 3% with </a:t>
            </a:r>
            <a:r>
              <a:rPr lang="en-US" sz="1200" b="1">
                <a:latin typeface="Open Sans" panose="020B0606030504020204" pitchFamily="34" charset="0"/>
                <a:ea typeface="Open Sans" panose="020B0606030504020204" pitchFamily="34" charset="0"/>
                <a:cs typeface="Open Sans" panose="020B0606030504020204" pitchFamily="34" charset="0"/>
              </a:rPr>
              <a:t>no</a:t>
            </a:r>
            <a:r>
              <a:rPr lang="en-US" sz="1200">
                <a:latin typeface="Open Sans" panose="020B0606030504020204" pitchFamily="34" charset="0"/>
                <a:ea typeface="Open Sans" panose="020B0606030504020204" pitchFamily="34" charset="0"/>
                <a:cs typeface="Open Sans" panose="020B0606030504020204" pitchFamily="34" charset="0"/>
              </a:rPr>
              <a:t> Critical/High bugs within the past year.</a:t>
            </a:r>
          </a:p>
          <a:p>
            <a:pPr marL="628650" lvl="1"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Artificial Intelligence Models that can great increase team productivity by reducing execution time, specifically when generating Test Cases, Test Data and Automation Scripts.</a:t>
            </a:r>
          </a:p>
          <a:p>
            <a:pPr marL="171450"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Additionally, a banking systems delivery model was presented by Stratis, highlighting key environment and data challenges found commonly in Financial Institutions similar to Citizens Bank.</a:t>
            </a:r>
          </a:p>
          <a:p>
            <a:pPr marL="171450" indent="-171450" algn="just">
              <a:lnSpc>
                <a:spcPct val="120000"/>
              </a:lnSpc>
              <a:spcBef>
                <a:spcPts val="600"/>
              </a:spcBef>
              <a:spcAft>
                <a:spcPts val="600"/>
              </a:spcAft>
              <a:buFont typeface="Arial" panose="020B0604020202020204" pitchFamily="34" charset="0"/>
              <a:buChar char="•"/>
            </a:pPr>
            <a:r>
              <a:rPr lang="en-US" sz="1200">
                <a:latin typeface="Open Sans" panose="020B0606030504020204" pitchFamily="34" charset="0"/>
                <a:ea typeface="Open Sans" panose="020B0606030504020204" pitchFamily="34" charset="0"/>
                <a:cs typeface="Open Sans" panose="020B0606030504020204" pitchFamily="34" charset="0"/>
              </a:rPr>
              <a:t> Stratis provided target progressive productivity gains :</a:t>
            </a:r>
          </a:p>
          <a:p>
            <a:pPr marL="1085850" lvl="2" indent="-171450">
              <a:lnSpc>
                <a:spcPct val="113999"/>
              </a:lnSpc>
              <a:spcBef>
                <a:spcPts val="300"/>
              </a:spcBef>
              <a:spcAft>
                <a:spcPts val="300"/>
              </a:spcAft>
              <a:buFont typeface="Courier New,monospace"/>
              <a:buChar char="o"/>
            </a:pPr>
            <a:r>
              <a:rPr lang="en-US" sz="1200">
                <a:latin typeface="Open Sans"/>
                <a:ea typeface="Open Sans"/>
                <a:cs typeface="Open Sans"/>
              </a:rPr>
              <a:t>Time savings: 20-60%*.</a:t>
            </a:r>
          </a:p>
          <a:p>
            <a:pPr marL="1085850" lvl="2" indent="-171450">
              <a:lnSpc>
                <a:spcPct val="113999"/>
              </a:lnSpc>
              <a:spcBef>
                <a:spcPts val="300"/>
              </a:spcBef>
              <a:spcAft>
                <a:spcPts val="300"/>
              </a:spcAft>
              <a:buFont typeface="Courier New,monospace"/>
              <a:buChar char="o"/>
            </a:pPr>
            <a:r>
              <a:rPr lang="en-US" sz="1200">
                <a:latin typeface="Open Sans"/>
                <a:ea typeface="Open Sans"/>
                <a:cs typeface="Open Sans"/>
              </a:rPr>
              <a:t>Productivity increase between 20%-40%*.</a:t>
            </a:r>
          </a:p>
          <a:p>
            <a:pPr marL="1085850" lvl="2" indent="-171450">
              <a:lnSpc>
                <a:spcPct val="113999"/>
              </a:lnSpc>
              <a:spcBef>
                <a:spcPts val="300"/>
              </a:spcBef>
              <a:spcAft>
                <a:spcPts val="300"/>
              </a:spcAft>
              <a:buFont typeface="Courier New,monospace"/>
              <a:buChar char="o"/>
            </a:pPr>
            <a:r>
              <a:rPr lang="en-US" sz="1200">
                <a:latin typeface="Open Sans"/>
                <a:ea typeface="Open Sans"/>
                <a:cs typeface="Open Sans"/>
              </a:rPr>
              <a:t>Increase in cost efficiency: 10%-35%+.</a:t>
            </a:r>
          </a:p>
          <a:p>
            <a:pPr marL="171450" indent="-171450">
              <a:lnSpc>
                <a:spcPct val="113999"/>
              </a:lnSpc>
              <a:spcBef>
                <a:spcPts val="300"/>
              </a:spcBef>
              <a:spcAft>
                <a:spcPts val="300"/>
              </a:spcAft>
              <a:buFont typeface="Courier New,monospace"/>
              <a:buChar char="o"/>
            </a:pPr>
            <a:r>
              <a:rPr lang="en-US" sz="1200">
                <a:latin typeface="Open Sans"/>
                <a:ea typeface="Open Sans"/>
                <a:cs typeface="Open Sans"/>
              </a:rPr>
              <a:t>Stratis is willing to invest in generating the SME capability at no cost to Citizens Bank.</a:t>
            </a:r>
          </a:p>
          <a:p>
            <a:pPr marL="171450" indent="-171450">
              <a:lnSpc>
                <a:spcPct val="113999"/>
              </a:lnSpc>
              <a:spcBef>
                <a:spcPts val="300"/>
              </a:spcBef>
              <a:spcAft>
                <a:spcPts val="300"/>
              </a:spcAft>
              <a:buFont typeface="Courier New,monospace"/>
              <a:buChar char="o"/>
            </a:pPr>
            <a:r>
              <a:rPr lang="en-US" sz="1200">
                <a:latin typeface="Open Sans"/>
                <a:ea typeface="Open Sans"/>
                <a:cs typeface="Open Sans"/>
              </a:rPr>
              <a:t>There is certain overlap in expertise, and this should be explored further.</a:t>
            </a:r>
          </a:p>
          <a:p>
            <a:pPr marL="628650" lvl="1" indent="-171450">
              <a:lnSpc>
                <a:spcPct val="113999"/>
              </a:lnSpc>
              <a:spcBef>
                <a:spcPts val="300"/>
              </a:spcBef>
              <a:spcAft>
                <a:spcPts val="300"/>
              </a:spcAft>
              <a:buFont typeface="Courier New,monospace"/>
              <a:buChar char="o"/>
            </a:pPr>
            <a:r>
              <a:rPr lang="en-US" sz="1200">
                <a:latin typeface="Open Sans"/>
                <a:ea typeface="Open Sans"/>
                <a:cs typeface="Open Sans"/>
              </a:rPr>
              <a:t>Stratis will send out presentation material and look for a follow-up call.</a:t>
            </a:r>
          </a:p>
          <a:p>
            <a:pPr marL="171450" indent="-171450" algn="just">
              <a:lnSpc>
                <a:spcPct val="120000"/>
              </a:lnSpc>
              <a:spcBef>
                <a:spcPts val="600"/>
              </a:spcBef>
              <a:spcAft>
                <a:spcPts val="600"/>
              </a:spcAft>
              <a:buFont typeface="Arial" panose="020B0604020202020204" pitchFamily="34" charset="0"/>
              <a:buChar char="•"/>
            </a:pPr>
            <a:endParaRPr lang="en-US" sz="1200">
              <a:latin typeface="Open Sans" panose="020B0606030504020204" pitchFamily="34" charset="0"/>
              <a:ea typeface="Open Sans" panose="020B0606030504020204" pitchFamily="34" charset="0"/>
              <a:cs typeface="Open Sans" panose="020B0606030504020204" pitchFamily="34" charset="0"/>
            </a:endParaRPr>
          </a:p>
          <a:p>
            <a:pPr marL="628650" lvl="1" indent="-171450" algn="just">
              <a:lnSpc>
                <a:spcPct val="120000"/>
              </a:lnSpc>
              <a:spcBef>
                <a:spcPts val="600"/>
              </a:spcBef>
              <a:spcAft>
                <a:spcPts val="600"/>
              </a:spcAft>
              <a:buFont typeface="Arial" panose="020B0604020202020204" pitchFamily="34" charset="0"/>
              <a:buChar char="•"/>
            </a:pPr>
            <a:endParaRPr lang="en-US" sz="1200">
              <a:latin typeface="Open Sans" panose="020B0606030504020204" pitchFamily="34" charset="0"/>
              <a:ea typeface="Open Sans" panose="020B0606030504020204" pitchFamily="34" charset="0"/>
              <a:cs typeface="Open Sans" panose="020B0606030504020204" pitchFamily="34" charset="0"/>
            </a:endParaRPr>
          </a:p>
          <a:p>
            <a:pPr marL="171450" indent="-171450" algn="just">
              <a:lnSpc>
                <a:spcPct val="120000"/>
              </a:lnSpc>
              <a:spcBef>
                <a:spcPts val="600"/>
              </a:spcBef>
              <a:spcAft>
                <a:spcPts val="600"/>
              </a:spcAft>
              <a:buFont typeface="Arial" panose="020B0604020202020204" pitchFamily="34" charset="0"/>
              <a:buChar char="•"/>
            </a:pPr>
            <a:endParaRPr lang="en-US" sz="1200">
              <a:latin typeface="Open Sans" panose="020B0606030504020204" pitchFamily="34" charset="0"/>
              <a:ea typeface="Open Sans" panose="020B0606030504020204" pitchFamily="34" charset="0"/>
              <a:cs typeface="Open Sans" panose="020B0606030504020204" pitchFamily="34" charset="0"/>
            </a:endParaRPr>
          </a:p>
          <a:p>
            <a:pPr algn="just">
              <a:lnSpc>
                <a:spcPct val="120000"/>
              </a:lnSpc>
              <a:spcBef>
                <a:spcPts val="600"/>
              </a:spcBef>
              <a:spcAft>
                <a:spcPts val="600"/>
              </a:spcAft>
            </a:pPr>
            <a:endParaRPr lang="en-US" sz="12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9641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387875-635E-C394-6CE1-2C442AFD78FF}"/>
              </a:ext>
            </a:extLst>
          </p:cNvPr>
          <p:cNvSpPr>
            <a:spLocks noGrp="1"/>
          </p:cNvSpPr>
          <p:nvPr>
            <p:ph type="body" sz="quarter" idx="13"/>
          </p:nvPr>
        </p:nvSpPr>
        <p:spPr>
          <a:xfrm>
            <a:off x="4447163" y="780576"/>
            <a:ext cx="3312000" cy="369332"/>
          </a:xfrm>
        </p:spPr>
        <p:txBody>
          <a:bodyPr/>
          <a:lstStyle/>
          <a:p>
            <a:r>
              <a:rPr lang="en-US" sz="2000">
                <a:solidFill>
                  <a:srgbClr val="F86F35"/>
                </a:solidFill>
              </a:rPr>
              <a:t>OUR TEAM</a:t>
            </a:r>
          </a:p>
        </p:txBody>
      </p:sp>
    </p:spTree>
    <p:extLst>
      <p:ext uri="{BB962C8B-B14F-4D97-AF65-F5344CB8AC3E}">
        <p14:creationId xmlns:p14="http://schemas.microsoft.com/office/powerpoint/2010/main" val="1768696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128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95D9310-E5FF-F595-3451-144F358ADAC9}"/>
              </a:ext>
            </a:extLst>
          </p:cNvPr>
          <p:cNvSpPr>
            <a:spLocks noGrp="1"/>
          </p:cNvSpPr>
          <p:nvPr>
            <p:ph type="body" sz="quarter" idx="13"/>
          </p:nvPr>
        </p:nvSpPr>
        <p:spPr>
          <a:xfrm>
            <a:off x="4313228" y="631124"/>
            <a:ext cx="2293740" cy="369332"/>
          </a:xfrm>
        </p:spPr>
        <p:txBody>
          <a:bodyPr vert="horz" wrap="square" lIns="91440" tIns="45720" rIns="91440" bIns="45720" rtlCol="0">
            <a:spAutoFit/>
          </a:bodyPr>
          <a:lstStyle/>
          <a:p>
            <a:r>
              <a:rPr lang="en-US" sz="2000">
                <a:solidFill>
                  <a:srgbClr val="F86F35"/>
                </a:solidFill>
                <a:latin typeface="Open Sans ExtraBold"/>
                <a:ea typeface="Open Sans ExtraBold"/>
                <a:cs typeface="Open Sans ExtraBold"/>
              </a:rPr>
              <a:t>WE ARE STRATIS</a:t>
            </a:r>
          </a:p>
        </p:txBody>
      </p:sp>
      <p:sp>
        <p:nvSpPr>
          <p:cNvPr id="5" name="Text Placeholder 4">
            <a:extLst>
              <a:ext uri="{FF2B5EF4-FFF2-40B4-BE49-F238E27FC236}">
                <a16:creationId xmlns:a16="http://schemas.microsoft.com/office/drawing/2014/main" id="{4D44ABD9-09F2-8AF6-FE69-5D897822198C}"/>
              </a:ext>
            </a:extLst>
          </p:cNvPr>
          <p:cNvSpPr>
            <a:spLocks noGrp="1"/>
          </p:cNvSpPr>
          <p:nvPr>
            <p:ph type="body" sz="quarter" idx="14"/>
          </p:nvPr>
        </p:nvSpPr>
        <p:spPr>
          <a:xfrm>
            <a:off x="4313228" y="1179020"/>
            <a:ext cx="7200000" cy="1818703"/>
          </a:xfrm>
        </p:spPr>
        <p:txBody>
          <a:bodyPr vert="horz" wrap="square" lIns="91440" tIns="45720" rIns="91440" bIns="45720" rtlCol="0" anchor="t">
            <a:spAutoFit/>
          </a:bodyPr>
          <a:lstStyle/>
          <a:p>
            <a:pPr algn="just">
              <a:spcBef>
                <a:spcPts val="300"/>
              </a:spcBef>
              <a:spcAft>
                <a:spcPts val="300"/>
              </a:spcAft>
            </a:pPr>
            <a:r>
              <a:rPr lang="en-US" sz="1300" b="1">
                <a:solidFill>
                  <a:srgbClr val="F86421"/>
                </a:solidFill>
                <a:latin typeface="Open Sans"/>
                <a:ea typeface="Open Sans"/>
                <a:cs typeface="Open Sans"/>
              </a:rPr>
              <a:t>Stratis is based in the Americas, with offices in Chicago, Miami, Mexico City, Santiago de Chile, and São Paulo</a:t>
            </a:r>
            <a:r>
              <a:rPr lang="en-US" sz="1300">
                <a:solidFill>
                  <a:srgbClr val="F86421"/>
                </a:solidFill>
                <a:latin typeface="Open Sans"/>
                <a:ea typeface="Open Sans"/>
                <a:cs typeface="Open Sans"/>
              </a:rPr>
              <a:t>.</a:t>
            </a:r>
          </a:p>
          <a:p>
            <a:pPr>
              <a:spcBef>
                <a:spcPts val="300"/>
              </a:spcBef>
              <a:spcAft>
                <a:spcPts val="300"/>
              </a:spcAft>
            </a:pPr>
            <a:endParaRPr lang="en-US" sz="1200">
              <a:latin typeface="Open Sans" panose="020B0606030504020204" pitchFamily="34" charset="0"/>
              <a:ea typeface="Open Sans" panose="020B0606030504020204" pitchFamily="34" charset="0"/>
              <a:cs typeface="Open Sans" panose="020B0606030504020204" pitchFamily="34" charset="0"/>
            </a:endParaRPr>
          </a:p>
          <a:p>
            <a:pPr algn="just">
              <a:spcBef>
                <a:spcPts val="300"/>
              </a:spcBef>
              <a:spcAft>
                <a:spcPts val="300"/>
              </a:spcAft>
            </a:pPr>
            <a:r>
              <a:rPr lang="en-US" sz="1200">
                <a:latin typeface="Open Sans"/>
                <a:ea typeface="Open Sans"/>
                <a:cs typeface="Open Sans"/>
              </a:rPr>
              <a:t>Established and specialized, the company has </a:t>
            </a:r>
            <a:r>
              <a:rPr lang="en-US" sz="1200" b="1">
                <a:latin typeface="Open Sans"/>
                <a:ea typeface="Open Sans"/>
                <a:cs typeface="Open Sans"/>
              </a:rPr>
              <a:t>expertise in tech services for banking </a:t>
            </a:r>
            <a:r>
              <a:rPr lang="en-US" sz="1200">
                <a:latin typeface="Open Sans"/>
                <a:ea typeface="Open Sans"/>
                <a:cs typeface="Open Sans"/>
              </a:rPr>
              <a:t>products. Investing in </a:t>
            </a:r>
            <a:r>
              <a:rPr lang="en-US" sz="1200" b="1">
                <a:latin typeface="Open Sans"/>
                <a:ea typeface="Open Sans"/>
                <a:cs typeface="Open Sans"/>
              </a:rPr>
              <a:t>innovation and employees</a:t>
            </a:r>
            <a:r>
              <a:rPr lang="en-US" sz="1200">
                <a:latin typeface="Open Sans"/>
                <a:ea typeface="Open Sans"/>
                <a:cs typeface="Open Sans"/>
              </a:rPr>
              <a:t>, Stratis remains </a:t>
            </a:r>
            <a:r>
              <a:rPr lang="en-US" sz="1200" b="1">
                <a:latin typeface="Open Sans"/>
                <a:ea typeface="Open Sans"/>
                <a:cs typeface="Open Sans"/>
              </a:rPr>
              <a:t>flexible and competitive</a:t>
            </a:r>
            <a:r>
              <a:rPr lang="en-US" sz="1200">
                <a:latin typeface="Open Sans"/>
                <a:ea typeface="Open Sans"/>
                <a:cs typeface="Open Sans"/>
              </a:rPr>
              <a:t>. Partnering with clients, Stratis provides business consulting, digital evolution, and technology project capabilities.</a:t>
            </a:r>
            <a:endParaRPr lang="es-ES">
              <a:latin typeface="Open Sans"/>
              <a:ea typeface="Open Sans"/>
              <a:cs typeface="Open Sans"/>
            </a:endParaRPr>
          </a:p>
        </p:txBody>
      </p:sp>
      <p:sp>
        <p:nvSpPr>
          <p:cNvPr id="6" name="Slide Number Placeholder 5">
            <a:extLst>
              <a:ext uri="{FF2B5EF4-FFF2-40B4-BE49-F238E27FC236}">
                <a16:creationId xmlns:a16="http://schemas.microsoft.com/office/drawing/2014/main" id="{44226CFA-36E3-CD91-6287-07798E687D8D}"/>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n-US" sz="1200" b="0" i="0" u="none" strike="noStrike" kern="1200" cap="none" spc="0" normalizeH="0" baseline="0" noProof="0" dirty="0" smtClean="0">
                <a:ln>
                  <a:noFill/>
                </a:ln>
                <a:solidFill>
                  <a:srgbClr val="FF8367"/>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FF8367"/>
              </a:solidFill>
              <a:effectLst/>
              <a:uLnTx/>
              <a:uFillTx/>
              <a:latin typeface="Open Sans Light"/>
              <a:ea typeface="+mn-ea"/>
              <a:cs typeface="+mn-cs"/>
            </a:endParaRPr>
          </a:p>
        </p:txBody>
      </p:sp>
    </p:spTree>
    <p:extLst>
      <p:ext uri="{BB962C8B-B14F-4D97-AF65-F5344CB8AC3E}">
        <p14:creationId xmlns:p14="http://schemas.microsoft.com/office/powerpoint/2010/main" val="52020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CD76FA13-CF0D-940A-7A54-C46CDCBE576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C08AD21C-45E8-1425-1B29-79E5C7EAB225}"/>
              </a:ext>
            </a:extLst>
          </p:cNvPr>
          <p:cNvSpPr>
            <a:spLocks noGrp="1"/>
          </p:cNvSpPr>
          <p:nvPr>
            <p:ph type="body" sz="quarter" idx="13"/>
          </p:nvPr>
        </p:nvSpPr>
        <p:spPr>
          <a:xfrm>
            <a:off x="4068813" y="314822"/>
            <a:ext cx="4249060" cy="535531"/>
          </a:xfrm>
        </p:spPr>
        <p:txBody>
          <a:bodyPr vert="horz" wrap="square" lIns="91440" tIns="45720" rIns="91440" bIns="45720" rtlCol="0" anchor="t">
            <a:spAutoFit/>
          </a:bodyPr>
          <a:lstStyle/>
          <a:p>
            <a:r>
              <a:rPr lang="en-US" sz="3200" dirty="0">
                <a:solidFill>
                  <a:srgbClr val="F86F35"/>
                </a:solidFill>
                <a:latin typeface="Open Sans ExtraBold"/>
                <a:ea typeface="Open Sans ExtraBold"/>
                <a:cs typeface="Open Sans ExtraBold"/>
              </a:rPr>
              <a:t>WE ARE STRATIS</a:t>
            </a:r>
          </a:p>
        </p:txBody>
      </p:sp>
      <p:sp>
        <p:nvSpPr>
          <p:cNvPr id="5" name="Text Placeholder 4">
            <a:extLst>
              <a:ext uri="{FF2B5EF4-FFF2-40B4-BE49-F238E27FC236}">
                <a16:creationId xmlns:a16="http://schemas.microsoft.com/office/drawing/2014/main" id="{C02FC67C-900E-1528-BBB0-A40BAC41A018}"/>
              </a:ext>
            </a:extLst>
          </p:cNvPr>
          <p:cNvSpPr>
            <a:spLocks noGrp="1"/>
          </p:cNvSpPr>
          <p:nvPr>
            <p:ph type="body" sz="quarter" idx="14"/>
          </p:nvPr>
        </p:nvSpPr>
        <p:spPr>
          <a:xfrm>
            <a:off x="3766889" y="1064001"/>
            <a:ext cx="7775093" cy="1702197"/>
          </a:xfrm>
        </p:spPr>
        <p:txBody>
          <a:bodyPr vert="horz" wrap="square" lIns="91440" tIns="45720" rIns="91440" bIns="45720" rtlCol="0" anchor="t">
            <a:spAutoFit/>
          </a:bodyPr>
          <a:lstStyle/>
          <a:p>
            <a:pPr algn="just">
              <a:spcBef>
                <a:spcPts val="300"/>
              </a:spcBef>
              <a:spcAft>
                <a:spcPts val="300"/>
              </a:spcAft>
            </a:pPr>
            <a:r>
              <a:rPr lang="en-US" b="1" dirty="0">
                <a:solidFill>
                  <a:srgbClr val="F86421"/>
                </a:solidFill>
                <a:latin typeface="Open Sans"/>
                <a:ea typeface="Open Sans"/>
                <a:cs typeface="Open Sans"/>
              </a:rPr>
              <a:t>Stratis is based in the Americas, with offices in Chicago, Miami, Mexico City, Santiago de Chile, and São Paulo</a:t>
            </a:r>
            <a:r>
              <a:rPr lang="en-US" dirty="0">
                <a:solidFill>
                  <a:srgbClr val="F86421"/>
                </a:solidFill>
                <a:latin typeface="Open Sans"/>
                <a:ea typeface="Open Sans"/>
                <a:cs typeface="Open Sans"/>
              </a:rPr>
              <a:t>.</a:t>
            </a:r>
          </a:p>
          <a:p>
            <a:pPr algn="just">
              <a:spcBef>
                <a:spcPts val="300"/>
              </a:spcBef>
              <a:spcAft>
                <a:spcPts val="300"/>
              </a:spcAft>
            </a:pPr>
            <a:r>
              <a:rPr lang="en-US" dirty="0">
                <a:latin typeface="Open Sans"/>
                <a:ea typeface="Open Sans"/>
                <a:cs typeface="Open Sans"/>
              </a:rPr>
              <a:t>Established and specialized, the company has </a:t>
            </a:r>
            <a:r>
              <a:rPr lang="en-US" b="1" dirty="0">
                <a:latin typeface="Open Sans"/>
                <a:ea typeface="Open Sans"/>
                <a:cs typeface="Open Sans"/>
              </a:rPr>
              <a:t>expertise in tech services for banking </a:t>
            </a:r>
            <a:r>
              <a:rPr lang="en-US" dirty="0">
                <a:latin typeface="Open Sans"/>
                <a:ea typeface="Open Sans"/>
                <a:cs typeface="Open Sans"/>
              </a:rPr>
              <a:t>products. Investing in </a:t>
            </a:r>
            <a:r>
              <a:rPr lang="en-US" b="1" dirty="0">
                <a:latin typeface="Open Sans"/>
                <a:ea typeface="Open Sans"/>
                <a:cs typeface="Open Sans"/>
              </a:rPr>
              <a:t>innovation and employees</a:t>
            </a:r>
            <a:r>
              <a:rPr lang="en-US" dirty="0">
                <a:latin typeface="Open Sans"/>
                <a:ea typeface="Open Sans"/>
                <a:cs typeface="Open Sans"/>
              </a:rPr>
              <a:t>, Stratis remains </a:t>
            </a:r>
            <a:r>
              <a:rPr lang="en-US" b="1" dirty="0">
                <a:latin typeface="Open Sans"/>
                <a:ea typeface="Open Sans"/>
                <a:cs typeface="Open Sans"/>
              </a:rPr>
              <a:t>flexible and competitive</a:t>
            </a:r>
            <a:r>
              <a:rPr lang="en-US" dirty="0">
                <a:latin typeface="Open Sans"/>
                <a:ea typeface="Open Sans"/>
                <a:cs typeface="Open Sans"/>
              </a:rPr>
              <a:t>. Partnering with clients, Stratis provides business consulting, digital evolution, and technology project capabilities.</a:t>
            </a:r>
            <a:endParaRPr lang="es-ES" dirty="0">
              <a:latin typeface="Open Sans"/>
              <a:ea typeface="Open Sans"/>
              <a:cs typeface="Open Sans"/>
            </a:endParaRPr>
          </a:p>
        </p:txBody>
      </p:sp>
      <p:sp>
        <p:nvSpPr>
          <p:cNvPr id="6" name="Slide Number Placeholder 5">
            <a:extLst>
              <a:ext uri="{FF2B5EF4-FFF2-40B4-BE49-F238E27FC236}">
                <a16:creationId xmlns:a16="http://schemas.microsoft.com/office/drawing/2014/main" id="{2C1BF9E0-4679-7F39-B7B9-68D14FF4050D}"/>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n-US" sz="1200" b="0" i="0" u="none" strike="noStrike" kern="1200" cap="none" spc="0" normalizeH="0" baseline="0" noProof="0" dirty="0" smtClean="0">
                <a:ln>
                  <a:noFill/>
                </a:ln>
                <a:solidFill>
                  <a:srgbClr val="FF8367"/>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FF8367"/>
              </a:solidFill>
              <a:effectLst/>
              <a:uLnTx/>
              <a:uFillTx/>
              <a:latin typeface="Open Sans Light"/>
              <a:ea typeface="+mn-ea"/>
              <a:cs typeface="+mn-cs"/>
            </a:endParaRPr>
          </a:p>
        </p:txBody>
      </p:sp>
    </p:spTree>
    <p:extLst>
      <p:ext uri="{BB962C8B-B14F-4D97-AF65-F5344CB8AC3E}">
        <p14:creationId xmlns:p14="http://schemas.microsoft.com/office/powerpoint/2010/main" val="3153803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2C8E9B24-9AA6-BC9C-920B-2A6E403D200D}"/>
            </a:ext>
          </a:extLst>
        </p:cNvPr>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80A13BF-B71B-2D1C-1E87-D1E21FA9CD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to 5" hidden="1">
                        <a:extLst>
                          <a:ext uri="{FF2B5EF4-FFF2-40B4-BE49-F238E27FC236}">
                            <a16:creationId xmlns:a16="http://schemas.microsoft.com/office/drawing/2014/main" id="{E80A13BF-B71B-2D1C-1E87-D1E21FA9CD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Marcador de número de diapositiva 2">
            <a:extLst>
              <a:ext uri="{FF2B5EF4-FFF2-40B4-BE49-F238E27FC236}">
                <a16:creationId xmlns:a16="http://schemas.microsoft.com/office/drawing/2014/main" id="{7FD0692E-3D38-17EC-F483-CCD5AD7A6B31}"/>
              </a:ext>
            </a:extLst>
          </p:cNvPr>
          <p:cNvSpPr txBox="1">
            <a:spLocks/>
          </p:cNvSpPr>
          <p:nvPr/>
        </p:nvSpPr>
        <p:spPr>
          <a:xfrm>
            <a:off x="11547762" y="6356350"/>
            <a:ext cx="374072" cy="365125"/>
          </a:xfrm>
          <a:prstGeom prst="rect">
            <a:avLst/>
          </a:prstGeom>
        </p:spPr>
        <p:txBody>
          <a:bodyPr vert="horz" lIns="91440" tIns="45720" rIns="91440" bIns="45720" rtlCol="0" anchor="ctr"/>
          <a:lstStyle>
            <a:defPPr>
              <a:defRPr lang="en-US"/>
            </a:defPPr>
            <a:lvl1pPr algn="r">
              <a:defRPr sz="1200">
                <a:solidFill>
                  <a:schemeClr val="accent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a:ln>
                  <a:noFill/>
                </a:ln>
                <a:solidFill>
                  <a:srgbClr val="FF8367"/>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MX" sz="1200" b="0" i="0" u="none" strike="noStrike" kern="1200" cap="none" spc="0" normalizeH="0" baseline="0" noProof="0">
              <a:ln>
                <a:noFill/>
              </a:ln>
              <a:solidFill>
                <a:srgbClr val="FF8367"/>
              </a:solidFill>
              <a:effectLst/>
              <a:uLnTx/>
              <a:uFillTx/>
              <a:latin typeface="Open Sans Light"/>
              <a:ea typeface="+mn-ea"/>
              <a:cs typeface="+mn-cs"/>
            </a:endParaRPr>
          </a:p>
        </p:txBody>
      </p:sp>
      <p:sp>
        <p:nvSpPr>
          <p:cNvPr id="22" name="Text Placeholder 21">
            <a:extLst>
              <a:ext uri="{FF2B5EF4-FFF2-40B4-BE49-F238E27FC236}">
                <a16:creationId xmlns:a16="http://schemas.microsoft.com/office/drawing/2014/main" id="{A812E997-C5E2-6FC6-C488-2B3E0B3C7F5E}"/>
              </a:ext>
            </a:extLst>
          </p:cNvPr>
          <p:cNvSpPr>
            <a:spLocks noGrp="1"/>
          </p:cNvSpPr>
          <p:nvPr>
            <p:ph type="body" sz="quarter" idx="13"/>
          </p:nvPr>
        </p:nvSpPr>
        <p:spPr/>
        <p:txBody>
          <a:bodyPr/>
          <a:lstStyle/>
          <a:p>
            <a:r>
              <a:rPr lang="en-US">
                <a:solidFill>
                  <a:srgbClr val="F86F35"/>
                </a:solidFill>
              </a:rPr>
              <a:t>STRATIS FIVE DISTINCTIVES</a:t>
            </a:r>
          </a:p>
        </p:txBody>
      </p:sp>
      <p:sp>
        <p:nvSpPr>
          <p:cNvPr id="23" name="Rectángulo: esquinas redondeadas 26">
            <a:extLst>
              <a:ext uri="{FF2B5EF4-FFF2-40B4-BE49-F238E27FC236}">
                <a16:creationId xmlns:a16="http://schemas.microsoft.com/office/drawing/2014/main" id="{28D8572C-810E-F928-A31B-4E3C48FE208F}"/>
              </a:ext>
            </a:extLst>
          </p:cNvPr>
          <p:cNvSpPr/>
          <p:nvPr/>
        </p:nvSpPr>
        <p:spPr>
          <a:xfrm>
            <a:off x="476023" y="2566796"/>
            <a:ext cx="388413" cy="365266"/>
          </a:xfrm>
          <a:prstGeom prst="roundRect">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4" name="Rectángulo: esquinas redondeadas 32">
            <a:extLst>
              <a:ext uri="{FF2B5EF4-FFF2-40B4-BE49-F238E27FC236}">
                <a16:creationId xmlns:a16="http://schemas.microsoft.com/office/drawing/2014/main" id="{6A92AE2E-9376-78C2-6C8F-D4FC463893BA}"/>
              </a:ext>
            </a:extLst>
          </p:cNvPr>
          <p:cNvSpPr/>
          <p:nvPr/>
        </p:nvSpPr>
        <p:spPr>
          <a:xfrm>
            <a:off x="476023" y="3794225"/>
            <a:ext cx="388413" cy="365266"/>
          </a:xfrm>
          <a:prstGeom prst="roundRect">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5" name="Rectángulo: esquinas redondeadas 33">
            <a:extLst>
              <a:ext uri="{FF2B5EF4-FFF2-40B4-BE49-F238E27FC236}">
                <a16:creationId xmlns:a16="http://schemas.microsoft.com/office/drawing/2014/main" id="{7D95F925-569F-1ACD-54B3-78E6C4324445}"/>
              </a:ext>
            </a:extLst>
          </p:cNvPr>
          <p:cNvSpPr/>
          <p:nvPr/>
        </p:nvSpPr>
        <p:spPr>
          <a:xfrm>
            <a:off x="476023" y="4904173"/>
            <a:ext cx="388413" cy="365266"/>
          </a:xfrm>
          <a:prstGeom prst="roundRect">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6" name="Rectángulo: esquinas redondeadas 34">
            <a:extLst>
              <a:ext uri="{FF2B5EF4-FFF2-40B4-BE49-F238E27FC236}">
                <a16:creationId xmlns:a16="http://schemas.microsoft.com/office/drawing/2014/main" id="{06DB24C6-5D8A-DA34-0D2A-37F0B14F743B}"/>
              </a:ext>
            </a:extLst>
          </p:cNvPr>
          <p:cNvSpPr/>
          <p:nvPr/>
        </p:nvSpPr>
        <p:spPr>
          <a:xfrm>
            <a:off x="476023" y="5970458"/>
            <a:ext cx="388413" cy="365266"/>
          </a:xfrm>
          <a:prstGeom prst="roundRect">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7" name="Rectángulo: esquinas redondeadas 13">
            <a:extLst>
              <a:ext uri="{FF2B5EF4-FFF2-40B4-BE49-F238E27FC236}">
                <a16:creationId xmlns:a16="http://schemas.microsoft.com/office/drawing/2014/main" id="{F362A4BC-3029-1466-F061-32F996F06884}"/>
              </a:ext>
            </a:extLst>
          </p:cNvPr>
          <p:cNvSpPr/>
          <p:nvPr/>
        </p:nvSpPr>
        <p:spPr>
          <a:xfrm>
            <a:off x="476023" y="1336355"/>
            <a:ext cx="388413" cy="365266"/>
          </a:xfrm>
          <a:prstGeom prst="roundRect">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28" name="Imagen 14" descr="Forma, Rectángulo&#10;&#10;Descripción generada automáticamente">
            <a:extLst>
              <a:ext uri="{FF2B5EF4-FFF2-40B4-BE49-F238E27FC236}">
                <a16:creationId xmlns:a16="http://schemas.microsoft.com/office/drawing/2014/main" id="{0FC3C4B1-94CA-D7BE-4313-652DC93B5C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4871" y="1132947"/>
            <a:ext cx="2799560" cy="854673"/>
          </a:xfrm>
          <a:prstGeom prst="rect">
            <a:avLst/>
          </a:prstGeom>
        </p:spPr>
      </p:pic>
      <p:pic>
        <p:nvPicPr>
          <p:cNvPr id="29" name="Imagen 21" descr="Forma, Rectángulo&#10;&#10;Descripción generada automáticamente">
            <a:extLst>
              <a:ext uri="{FF2B5EF4-FFF2-40B4-BE49-F238E27FC236}">
                <a16:creationId xmlns:a16="http://schemas.microsoft.com/office/drawing/2014/main" id="{D7E910AC-5301-10DE-CDAD-2A129861880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4871" y="2327612"/>
            <a:ext cx="2799560" cy="854673"/>
          </a:xfrm>
          <a:prstGeom prst="rect">
            <a:avLst/>
          </a:prstGeom>
        </p:spPr>
      </p:pic>
      <p:pic>
        <p:nvPicPr>
          <p:cNvPr id="30" name="Imagen 22" descr="Forma, Rectángulo&#10;&#10;Descripción generada automáticamente">
            <a:extLst>
              <a:ext uri="{FF2B5EF4-FFF2-40B4-BE49-F238E27FC236}">
                <a16:creationId xmlns:a16="http://schemas.microsoft.com/office/drawing/2014/main" id="{57C7AB5E-B199-DCAB-B413-3C5FAE4EBA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014" y="3524153"/>
            <a:ext cx="2799560" cy="854673"/>
          </a:xfrm>
          <a:prstGeom prst="rect">
            <a:avLst/>
          </a:prstGeom>
        </p:spPr>
      </p:pic>
      <p:pic>
        <p:nvPicPr>
          <p:cNvPr id="31" name="Imagen 23" descr="Forma, Rectángulo&#10;&#10;Descripción generada automáticamente">
            <a:extLst>
              <a:ext uri="{FF2B5EF4-FFF2-40B4-BE49-F238E27FC236}">
                <a16:creationId xmlns:a16="http://schemas.microsoft.com/office/drawing/2014/main" id="{81E98432-A252-DA3D-0A1B-90CBA4C4B25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014" y="4647259"/>
            <a:ext cx="2799560" cy="854673"/>
          </a:xfrm>
          <a:prstGeom prst="rect">
            <a:avLst/>
          </a:prstGeom>
        </p:spPr>
      </p:pic>
      <p:pic>
        <p:nvPicPr>
          <p:cNvPr id="32" name="Imagen 24" descr="Forma, Rectángulo&#10;&#10;Descripción generada automáticamente">
            <a:extLst>
              <a:ext uri="{FF2B5EF4-FFF2-40B4-BE49-F238E27FC236}">
                <a16:creationId xmlns:a16="http://schemas.microsoft.com/office/drawing/2014/main" id="{4E17171B-7E5D-7CA6-80A2-D31ACA8BB2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9300" y="5721725"/>
            <a:ext cx="2799560" cy="854673"/>
          </a:xfrm>
          <a:prstGeom prst="rect">
            <a:avLst/>
          </a:prstGeom>
        </p:spPr>
      </p:pic>
      <p:pic>
        <p:nvPicPr>
          <p:cNvPr id="33" name="Gráfico 16">
            <a:extLst>
              <a:ext uri="{FF2B5EF4-FFF2-40B4-BE49-F238E27FC236}">
                <a16:creationId xmlns:a16="http://schemas.microsoft.com/office/drawing/2014/main" id="{F38CB6EB-AB31-9519-7DB7-93E07A2FF4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99725" y="1135596"/>
            <a:ext cx="6062416" cy="907316"/>
          </a:xfrm>
          <a:prstGeom prst="rect">
            <a:avLst/>
          </a:prstGeom>
        </p:spPr>
      </p:pic>
      <p:pic>
        <p:nvPicPr>
          <p:cNvPr id="35" name="Gráfico 17">
            <a:extLst>
              <a:ext uri="{FF2B5EF4-FFF2-40B4-BE49-F238E27FC236}">
                <a16:creationId xmlns:a16="http://schemas.microsoft.com/office/drawing/2014/main" id="{EBB6701A-A54D-6A5B-B7D3-960C1933F2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15297" y="2314885"/>
            <a:ext cx="6041249" cy="886150"/>
          </a:xfrm>
          <a:prstGeom prst="rect">
            <a:avLst/>
          </a:prstGeom>
        </p:spPr>
      </p:pic>
      <p:pic>
        <p:nvPicPr>
          <p:cNvPr id="38" name="Gráfico 18">
            <a:extLst>
              <a:ext uri="{FF2B5EF4-FFF2-40B4-BE49-F238E27FC236}">
                <a16:creationId xmlns:a16="http://schemas.microsoft.com/office/drawing/2014/main" id="{5580728D-D5AB-2F5B-CCD1-B837B21D2B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46112" y="3524978"/>
            <a:ext cx="6031372" cy="848615"/>
          </a:xfrm>
          <a:prstGeom prst="rect">
            <a:avLst/>
          </a:prstGeom>
        </p:spPr>
      </p:pic>
      <p:pic>
        <p:nvPicPr>
          <p:cNvPr id="39" name="Gráfico 19">
            <a:extLst>
              <a:ext uri="{FF2B5EF4-FFF2-40B4-BE49-F238E27FC236}">
                <a16:creationId xmlns:a16="http://schemas.microsoft.com/office/drawing/2014/main" id="{280A5442-343F-AF4D-8F23-9FFA6DAA1C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17868" y="4647259"/>
            <a:ext cx="6076527" cy="879095"/>
          </a:xfrm>
          <a:prstGeom prst="rect">
            <a:avLst/>
          </a:prstGeom>
        </p:spPr>
      </p:pic>
      <p:pic>
        <p:nvPicPr>
          <p:cNvPr id="40" name="Gráfico 20">
            <a:extLst>
              <a:ext uri="{FF2B5EF4-FFF2-40B4-BE49-F238E27FC236}">
                <a16:creationId xmlns:a16="http://schemas.microsoft.com/office/drawing/2014/main" id="{7ADAE489-CF9F-53A5-7249-B347093175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54154" y="5721725"/>
            <a:ext cx="6076527" cy="872039"/>
          </a:xfrm>
          <a:prstGeom prst="rect">
            <a:avLst/>
          </a:prstGeom>
        </p:spPr>
      </p:pic>
      <p:sp>
        <p:nvSpPr>
          <p:cNvPr id="41" name="CuadroTexto 3">
            <a:extLst>
              <a:ext uri="{FF2B5EF4-FFF2-40B4-BE49-F238E27FC236}">
                <a16:creationId xmlns:a16="http://schemas.microsoft.com/office/drawing/2014/main" id="{F5939D31-65D2-C717-C6E4-E5B61B54019A}"/>
              </a:ext>
            </a:extLst>
          </p:cNvPr>
          <p:cNvSpPr txBox="1"/>
          <p:nvPr/>
        </p:nvSpPr>
        <p:spPr>
          <a:xfrm>
            <a:off x="826163" y="6002439"/>
            <a:ext cx="2788247" cy="30777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Open Sans"/>
                <a:ea typeface="Open Sans"/>
                <a:cs typeface="Open Sans"/>
              </a:rPr>
              <a:t>Proximity: Nearshore + Local</a:t>
            </a: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CuadroTexto 5">
            <a:extLst>
              <a:ext uri="{FF2B5EF4-FFF2-40B4-BE49-F238E27FC236}">
                <a16:creationId xmlns:a16="http://schemas.microsoft.com/office/drawing/2014/main" id="{98CC6687-65B9-44A4-0E36-CCF3327310F9}"/>
              </a:ext>
            </a:extLst>
          </p:cNvPr>
          <p:cNvSpPr txBox="1"/>
          <p:nvPr/>
        </p:nvSpPr>
        <p:spPr>
          <a:xfrm>
            <a:off x="773166" y="2503723"/>
            <a:ext cx="2779174" cy="52322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Open Sans"/>
                <a:ea typeface="Open Sans"/>
                <a:cs typeface="Open Sans"/>
              </a:rPr>
              <a:t>Talent Performance &amp; Recognition Focus</a:t>
            </a: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CuadroTexto 7">
            <a:extLst>
              <a:ext uri="{FF2B5EF4-FFF2-40B4-BE49-F238E27FC236}">
                <a16:creationId xmlns:a16="http://schemas.microsoft.com/office/drawing/2014/main" id="{C39C3204-4A9C-E32D-3641-B24DA73538CE}"/>
              </a:ext>
            </a:extLst>
          </p:cNvPr>
          <p:cNvSpPr txBox="1"/>
          <p:nvPr/>
        </p:nvSpPr>
        <p:spPr>
          <a:xfrm>
            <a:off x="4266351" y="2429791"/>
            <a:ext cx="5503950" cy="64633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Open Sans"/>
                <a:ea typeface="Open Sans"/>
                <a:cs typeface="Open Sans"/>
              </a:rPr>
              <a:t>We facilitate an environment of ongoing talent </a:t>
            </a:r>
            <a:r>
              <a:rPr lang="en-US" sz="1200" b="1">
                <a:latin typeface="Open Sans"/>
                <a:ea typeface="Open Sans"/>
                <a:cs typeface="Open Sans"/>
              </a:rPr>
              <a:t>feedback</a:t>
            </a:r>
            <a:r>
              <a:rPr lang="en-US" sz="1200">
                <a:latin typeface="Open Sans"/>
                <a:ea typeface="Open Sans"/>
                <a:cs typeface="Open Sans"/>
              </a:rPr>
              <a:t> and </a:t>
            </a:r>
            <a:r>
              <a:rPr lang="en-US" sz="1200" b="1">
                <a:latin typeface="Open Sans"/>
                <a:ea typeface="Open Sans"/>
                <a:cs typeface="Open Sans"/>
              </a:rPr>
              <a:t>recognition</a:t>
            </a:r>
            <a:r>
              <a:rPr lang="en-US" sz="1200">
                <a:latin typeface="Open Sans"/>
                <a:ea typeface="Open Sans"/>
                <a:cs typeface="Open Sans"/>
              </a:rPr>
              <a:t>, enabling open communication that drives performance improvements, strengthens </a:t>
            </a:r>
            <a:r>
              <a:rPr lang="en-US" sz="1200" b="1">
                <a:latin typeface="Open Sans"/>
                <a:ea typeface="Open Sans"/>
                <a:cs typeface="Open Sans"/>
              </a:rPr>
              <a:t>relationships</a:t>
            </a:r>
            <a:r>
              <a:rPr lang="en-US" sz="1200">
                <a:latin typeface="Open Sans"/>
                <a:ea typeface="Open Sans"/>
                <a:cs typeface="Open Sans"/>
              </a:rPr>
              <a:t> and </a:t>
            </a:r>
            <a:r>
              <a:rPr lang="en-US" sz="1200" b="1">
                <a:latin typeface="Open Sans"/>
                <a:ea typeface="Open Sans"/>
                <a:cs typeface="Open Sans"/>
              </a:rPr>
              <a:t>reduces</a:t>
            </a:r>
            <a:r>
              <a:rPr lang="en-US" sz="1200">
                <a:latin typeface="Open Sans"/>
                <a:ea typeface="Open Sans"/>
                <a:cs typeface="Open Sans"/>
              </a:rPr>
              <a:t> bad attrition.</a:t>
            </a:r>
            <a:endParaRPr lang="es-ES" sz="1200">
              <a:latin typeface="Open Sans"/>
              <a:ea typeface="Open Sans"/>
              <a:cs typeface="Open Sans"/>
            </a:endParaRPr>
          </a:p>
        </p:txBody>
      </p:sp>
      <p:sp>
        <p:nvSpPr>
          <p:cNvPr id="44" name="CuadroTexto 8">
            <a:extLst>
              <a:ext uri="{FF2B5EF4-FFF2-40B4-BE49-F238E27FC236}">
                <a16:creationId xmlns:a16="http://schemas.microsoft.com/office/drawing/2014/main" id="{90A26F80-89E2-ED7A-0A91-6E9055614E52}"/>
              </a:ext>
            </a:extLst>
          </p:cNvPr>
          <p:cNvSpPr txBox="1"/>
          <p:nvPr/>
        </p:nvSpPr>
        <p:spPr>
          <a:xfrm>
            <a:off x="4266351" y="5948077"/>
            <a:ext cx="4793070" cy="46166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Open Sans"/>
                <a:ea typeface="Open Sans"/>
                <a:cs typeface="Open Sans"/>
              </a:rPr>
              <a:t>Our team is </a:t>
            </a:r>
            <a:r>
              <a:rPr lang="en-US" sz="1200" b="1">
                <a:latin typeface="Open Sans"/>
                <a:ea typeface="Open Sans"/>
                <a:cs typeface="Open Sans"/>
              </a:rPr>
              <a:t>nearshore</a:t>
            </a:r>
            <a:r>
              <a:rPr lang="en-US" sz="1200">
                <a:latin typeface="Open Sans"/>
                <a:ea typeface="Open Sans"/>
                <a:cs typeface="Open Sans"/>
              </a:rPr>
              <a:t>, in the </a:t>
            </a:r>
            <a:r>
              <a:rPr lang="en-US" sz="1200" b="1">
                <a:latin typeface="Open Sans"/>
                <a:ea typeface="Open Sans"/>
                <a:cs typeface="Open Sans"/>
              </a:rPr>
              <a:t>same time zone</a:t>
            </a:r>
            <a:r>
              <a:rPr lang="en-US" sz="1200">
                <a:latin typeface="Open Sans"/>
                <a:ea typeface="Open Sans"/>
                <a:cs typeface="Open Sans"/>
              </a:rPr>
              <a:t>,</a:t>
            </a:r>
            <a:r>
              <a:rPr lang="en-US" sz="1200" b="1">
                <a:latin typeface="Open Sans"/>
                <a:ea typeface="Open Sans"/>
                <a:cs typeface="Open Sans"/>
              </a:rPr>
              <a:t> </a:t>
            </a:r>
            <a:r>
              <a:rPr lang="en-US" sz="1200">
                <a:latin typeface="Open Sans"/>
                <a:ea typeface="Open Sans"/>
                <a:cs typeface="Open Sans"/>
              </a:rPr>
              <a:t>culturally close to our clients, and enriched with </a:t>
            </a:r>
            <a:r>
              <a:rPr lang="en-US" sz="1200" b="1">
                <a:latin typeface="Open Sans"/>
                <a:ea typeface="Open Sans"/>
                <a:cs typeface="Open Sans"/>
              </a:rPr>
              <a:t>local talent</a:t>
            </a:r>
            <a:r>
              <a:rPr lang="en-US" sz="1200">
                <a:latin typeface="Open Sans"/>
                <a:ea typeface="Open Sans"/>
                <a:cs typeface="Open Sans"/>
              </a:rPr>
              <a:t> when needed.</a:t>
            </a:r>
            <a:endParaRPr lang="es-ES" sz="1200">
              <a:latin typeface="Open Sans"/>
              <a:ea typeface="Open Sans"/>
              <a:cs typeface="Open Sans"/>
            </a:endParaRPr>
          </a:p>
        </p:txBody>
      </p:sp>
      <p:sp>
        <p:nvSpPr>
          <p:cNvPr id="45" name="CuadroTexto 9">
            <a:extLst>
              <a:ext uri="{FF2B5EF4-FFF2-40B4-BE49-F238E27FC236}">
                <a16:creationId xmlns:a16="http://schemas.microsoft.com/office/drawing/2014/main" id="{E3D3B40E-4C3E-F4AB-D470-C886F4325B69}"/>
              </a:ext>
            </a:extLst>
          </p:cNvPr>
          <p:cNvSpPr txBox="1"/>
          <p:nvPr/>
        </p:nvSpPr>
        <p:spPr>
          <a:xfrm>
            <a:off x="826163" y="1336355"/>
            <a:ext cx="2525176" cy="52322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Open Sans"/>
                <a:ea typeface="Open Sans"/>
                <a:cs typeface="Open Sans"/>
              </a:rPr>
              <a:t>Tailored Recruitment &amp; Selection</a:t>
            </a:r>
          </a:p>
        </p:txBody>
      </p:sp>
      <p:sp>
        <p:nvSpPr>
          <p:cNvPr id="46" name="CuadroTexto 10">
            <a:extLst>
              <a:ext uri="{FF2B5EF4-FFF2-40B4-BE49-F238E27FC236}">
                <a16:creationId xmlns:a16="http://schemas.microsoft.com/office/drawing/2014/main" id="{95350415-84CB-4CC8-5491-9E687FAC6E4B}"/>
              </a:ext>
            </a:extLst>
          </p:cNvPr>
          <p:cNvSpPr txBox="1"/>
          <p:nvPr/>
        </p:nvSpPr>
        <p:spPr>
          <a:xfrm>
            <a:off x="4266351" y="1265179"/>
            <a:ext cx="5158228" cy="64633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Open Sans"/>
                <a:ea typeface="Open Sans"/>
                <a:cs typeface="Open Sans"/>
              </a:rPr>
              <a:t>Stratis works </a:t>
            </a:r>
            <a:r>
              <a:rPr lang="en-US" sz="1200" b="1">
                <a:latin typeface="Open Sans"/>
                <a:ea typeface="Open Sans"/>
                <a:cs typeface="Open Sans"/>
              </a:rPr>
              <a:t>closely </a:t>
            </a:r>
            <a:r>
              <a:rPr lang="en-US" sz="1200">
                <a:latin typeface="Open Sans"/>
                <a:ea typeface="Open Sans"/>
                <a:cs typeface="Open Sans"/>
              </a:rPr>
              <a:t>with </a:t>
            </a:r>
            <a:r>
              <a:rPr lang="en-US" sz="1200" b="1">
                <a:latin typeface="Open Sans"/>
                <a:ea typeface="Open Sans"/>
                <a:cs typeface="Open Sans"/>
              </a:rPr>
              <a:t>clients</a:t>
            </a:r>
            <a:r>
              <a:rPr lang="en-US" sz="1200">
                <a:latin typeface="Open Sans"/>
                <a:ea typeface="Open Sans"/>
                <a:cs typeface="Open Sans"/>
              </a:rPr>
              <a:t> throughout the recruitment process, offering full </a:t>
            </a:r>
            <a:r>
              <a:rPr lang="en-US" sz="1200" b="1">
                <a:latin typeface="Open Sans"/>
                <a:ea typeface="Open Sans"/>
                <a:cs typeface="Open Sans"/>
              </a:rPr>
              <a:t>transparency</a:t>
            </a:r>
            <a:r>
              <a:rPr lang="en-US" sz="1200">
                <a:latin typeface="Open Sans"/>
                <a:ea typeface="Open Sans"/>
                <a:cs typeface="Open Sans"/>
              </a:rPr>
              <a:t> in our process and ensuring their </a:t>
            </a:r>
            <a:r>
              <a:rPr lang="en-US" sz="1200" b="1">
                <a:latin typeface="Open Sans"/>
                <a:ea typeface="Open Sans"/>
                <a:cs typeface="Open Sans"/>
              </a:rPr>
              <a:t>involvement</a:t>
            </a:r>
            <a:r>
              <a:rPr lang="en-US" sz="1200">
                <a:latin typeface="Open Sans"/>
                <a:ea typeface="Open Sans"/>
                <a:cs typeface="Open Sans"/>
              </a:rPr>
              <a:t> in key decisions.</a:t>
            </a:r>
            <a:endParaRPr lang="es-ES" sz="1200">
              <a:latin typeface="Open Sans"/>
              <a:ea typeface="Open Sans"/>
              <a:cs typeface="Open Sans"/>
            </a:endParaRPr>
          </a:p>
        </p:txBody>
      </p:sp>
      <p:sp>
        <p:nvSpPr>
          <p:cNvPr id="47" name="CuadroTexto 4">
            <a:extLst>
              <a:ext uri="{FF2B5EF4-FFF2-40B4-BE49-F238E27FC236}">
                <a16:creationId xmlns:a16="http://schemas.microsoft.com/office/drawing/2014/main" id="{ECD65697-A7B5-C103-0229-63C2990EEB38}"/>
              </a:ext>
            </a:extLst>
          </p:cNvPr>
          <p:cNvSpPr txBox="1"/>
          <p:nvPr/>
        </p:nvSpPr>
        <p:spPr>
          <a:xfrm>
            <a:off x="918308" y="3786491"/>
            <a:ext cx="2525176" cy="30777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Specialization</a:t>
            </a:r>
            <a:endPar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CuadroTexto 11">
            <a:extLst>
              <a:ext uri="{FF2B5EF4-FFF2-40B4-BE49-F238E27FC236}">
                <a16:creationId xmlns:a16="http://schemas.microsoft.com/office/drawing/2014/main" id="{5A939D78-F0AE-D1DB-BF70-16BD3F9970C5}"/>
              </a:ext>
            </a:extLst>
          </p:cNvPr>
          <p:cNvSpPr txBox="1"/>
          <p:nvPr/>
        </p:nvSpPr>
        <p:spPr>
          <a:xfrm>
            <a:off x="918308" y="4918060"/>
            <a:ext cx="2525176" cy="30777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Boutique Approach</a:t>
            </a:r>
            <a:endParaRPr lang="es-ES" sz="14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CuadroTexto 12">
            <a:extLst>
              <a:ext uri="{FF2B5EF4-FFF2-40B4-BE49-F238E27FC236}">
                <a16:creationId xmlns:a16="http://schemas.microsoft.com/office/drawing/2014/main" id="{0AD0CAA3-DD7A-CF5D-AE63-6D88B3C37019}"/>
              </a:ext>
            </a:extLst>
          </p:cNvPr>
          <p:cNvSpPr txBox="1"/>
          <p:nvPr/>
        </p:nvSpPr>
        <p:spPr>
          <a:xfrm>
            <a:off x="4266351" y="4802101"/>
            <a:ext cx="4691231" cy="64633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Open Sans"/>
                <a:ea typeface="Open Sans"/>
                <a:cs typeface="Open Sans"/>
              </a:rPr>
              <a:t>We offer </a:t>
            </a:r>
            <a:r>
              <a:rPr lang="en-US" sz="1200" b="1">
                <a:latin typeface="Open Sans"/>
                <a:ea typeface="Open Sans"/>
                <a:cs typeface="Open Sans"/>
              </a:rPr>
              <a:t>flexible services</a:t>
            </a:r>
            <a:r>
              <a:rPr lang="en-US" sz="1200">
                <a:latin typeface="Open Sans"/>
                <a:ea typeface="Open Sans"/>
                <a:cs typeface="Open Sans"/>
              </a:rPr>
              <a:t>, customizing each one to meet the </a:t>
            </a:r>
            <a:r>
              <a:rPr lang="en-US" sz="1200" b="1">
                <a:latin typeface="Open Sans"/>
                <a:ea typeface="Open Sans"/>
                <a:cs typeface="Open Sans"/>
              </a:rPr>
              <a:t>specific needs</a:t>
            </a:r>
            <a:r>
              <a:rPr lang="en-US" sz="1200">
                <a:latin typeface="Open Sans"/>
                <a:ea typeface="Open Sans"/>
                <a:cs typeface="Open Sans"/>
              </a:rPr>
              <a:t> of our clients, with a strong focus on ensuring their business </a:t>
            </a:r>
            <a:r>
              <a:rPr lang="en-US" sz="1200" b="1">
                <a:latin typeface="Open Sans"/>
                <a:ea typeface="Open Sans"/>
                <a:cs typeface="Open Sans"/>
              </a:rPr>
              <a:t>success</a:t>
            </a:r>
            <a:r>
              <a:rPr lang="en-US" sz="1200">
                <a:latin typeface="Open Sans"/>
                <a:ea typeface="Open Sans"/>
                <a:cs typeface="Open Sans"/>
              </a:rPr>
              <a:t>.</a:t>
            </a:r>
            <a:endParaRPr lang="es-ES">
              <a:latin typeface="Open Sans"/>
              <a:ea typeface="Open Sans"/>
              <a:cs typeface="Open Sans"/>
            </a:endParaRPr>
          </a:p>
        </p:txBody>
      </p:sp>
      <p:pic>
        <p:nvPicPr>
          <p:cNvPr id="50" name="Imagen 15" descr="Interfaz de usuario gráfica, Aplicación&#10;&#10;Descripción generada automáticamente">
            <a:extLst>
              <a:ext uri="{FF2B5EF4-FFF2-40B4-BE49-F238E27FC236}">
                <a16:creationId xmlns:a16="http://schemas.microsoft.com/office/drawing/2014/main" id="{53A1ACD8-2F35-9C20-B454-9F76E164056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9165" t="19975" r="39305" b="20278"/>
          <a:stretch/>
        </p:blipFill>
        <p:spPr>
          <a:xfrm>
            <a:off x="9920084" y="2042912"/>
            <a:ext cx="1869149" cy="3617847"/>
          </a:xfrm>
          <a:prstGeom prst="rect">
            <a:avLst/>
          </a:prstGeom>
        </p:spPr>
      </p:pic>
      <p:sp>
        <p:nvSpPr>
          <p:cNvPr id="51" name="CuadroTexto 25">
            <a:extLst>
              <a:ext uri="{FF2B5EF4-FFF2-40B4-BE49-F238E27FC236}">
                <a16:creationId xmlns:a16="http://schemas.microsoft.com/office/drawing/2014/main" id="{EEA1436A-4534-FCC3-1CED-B11889F5004D}"/>
              </a:ext>
            </a:extLst>
          </p:cNvPr>
          <p:cNvSpPr txBox="1"/>
          <p:nvPr/>
        </p:nvSpPr>
        <p:spPr>
          <a:xfrm>
            <a:off x="4266351" y="3631699"/>
            <a:ext cx="5526373" cy="64633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latin typeface="Open Sans"/>
                <a:ea typeface="+mn-lt"/>
                <a:cs typeface="+mn-lt"/>
              </a:rPr>
              <a:t>Our core expertise</a:t>
            </a:r>
            <a:r>
              <a:rPr lang="en-US" sz="1200" b="1">
                <a:latin typeface="Open Sans"/>
                <a:ea typeface="+mn-lt"/>
                <a:cs typeface="+mn-lt"/>
              </a:rPr>
              <a:t> </a:t>
            </a:r>
            <a:r>
              <a:rPr lang="en-US" sz="1200">
                <a:latin typeface="Open Sans"/>
                <a:ea typeface="+mn-lt"/>
                <a:cs typeface="+mn-lt"/>
              </a:rPr>
              <a:t>is centered around three key areas: digital transformation, quality assurance and data services tailored for the </a:t>
            </a:r>
            <a:r>
              <a:rPr lang="en-US" sz="1200" b="1">
                <a:latin typeface="Open Sans"/>
                <a:ea typeface="+mn-lt"/>
                <a:cs typeface="+mn-lt"/>
              </a:rPr>
              <a:t>banking systems landscape</a:t>
            </a:r>
            <a:r>
              <a:rPr lang="en-US" sz="1200">
                <a:latin typeface="Open Sans"/>
                <a:ea typeface="+mn-lt"/>
                <a:cs typeface="+mn-lt"/>
              </a:rPr>
              <a:t>. </a:t>
            </a:r>
            <a:endParaRPr lang="en-US" sz="1200">
              <a:latin typeface="Aptos"/>
              <a:ea typeface="Open Sans"/>
              <a:cs typeface="Open Sans"/>
            </a:endParaRPr>
          </a:p>
        </p:txBody>
      </p:sp>
      <p:sp>
        <p:nvSpPr>
          <p:cNvPr id="52" name="CuadroTexto 27">
            <a:extLst>
              <a:ext uri="{FF2B5EF4-FFF2-40B4-BE49-F238E27FC236}">
                <a16:creationId xmlns:a16="http://schemas.microsoft.com/office/drawing/2014/main" id="{23AA6219-2D48-E7AF-1E29-8228728063FF}"/>
              </a:ext>
            </a:extLst>
          </p:cNvPr>
          <p:cNvSpPr txBox="1"/>
          <p:nvPr/>
        </p:nvSpPr>
        <p:spPr>
          <a:xfrm>
            <a:off x="493336" y="1324284"/>
            <a:ext cx="3537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a:solidFill>
                  <a:schemeClr val="bg1"/>
                </a:solidFill>
                <a:latin typeface="+mj-lt"/>
              </a:rPr>
              <a:t>1</a:t>
            </a:r>
          </a:p>
        </p:txBody>
      </p:sp>
      <p:sp>
        <p:nvSpPr>
          <p:cNvPr id="53" name="CuadroTexto 28">
            <a:extLst>
              <a:ext uri="{FF2B5EF4-FFF2-40B4-BE49-F238E27FC236}">
                <a16:creationId xmlns:a16="http://schemas.microsoft.com/office/drawing/2014/main" id="{8F2A7F7E-C5E1-AB40-B188-7BDD872CBC1E}"/>
              </a:ext>
            </a:extLst>
          </p:cNvPr>
          <p:cNvSpPr txBox="1"/>
          <p:nvPr/>
        </p:nvSpPr>
        <p:spPr>
          <a:xfrm>
            <a:off x="486267" y="2564763"/>
            <a:ext cx="3537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a:solidFill>
                  <a:schemeClr val="bg1"/>
                </a:solidFill>
                <a:latin typeface="+mj-lt"/>
              </a:rPr>
              <a:t>2</a:t>
            </a:r>
          </a:p>
        </p:txBody>
      </p:sp>
      <p:sp>
        <p:nvSpPr>
          <p:cNvPr id="54" name="CuadroTexto 29">
            <a:extLst>
              <a:ext uri="{FF2B5EF4-FFF2-40B4-BE49-F238E27FC236}">
                <a16:creationId xmlns:a16="http://schemas.microsoft.com/office/drawing/2014/main" id="{56435789-9BCD-5A3D-0F77-ED8426EB8480}"/>
              </a:ext>
            </a:extLst>
          </p:cNvPr>
          <p:cNvSpPr txBox="1"/>
          <p:nvPr/>
        </p:nvSpPr>
        <p:spPr>
          <a:xfrm>
            <a:off x="493335" y="3794225"/>
            <a:ext cx="3537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a:solidFill>
                  <a:schemeClr val="bg1"/>
                </a:solidFill>
                <a:latin typeface="+mj-lt"/>
              </a:rPr>
              <a:t>3</a:t>
            </a:r>
          </a:p>
        </p:txBody>
      </p:sp>
      <p:sp>
        <p:nvSpPr>
          <p:cNvPr id="55" name="CuadroTexto 30">
            <a:extLst>
              <a:ext uri="{FF2B5EF4-FFF2-40B4-BE49-F238E27FC236}">
                <a16:creationId xmlns:a16="http://schemas.microsoft.com/office/drawing/2014/main" id="{6BC04BB9-B77D-26F1-353F-B0FC947F6F6A}"/>
              </a:ext>
            </a:extLst>
          </p:cNvPr>
          <p:cNvSpPr txBox="1"/>
          <p:nvPr/>
        </p:nvSpPr>
        <p:spPr>
          <a:xfrm>
            <a:off x="493334" y="4887282"/>
            <a:ext cx="3537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a:solidFill>
                  <a:schemeClr val="bg1"/>
                </a:solidFill>
                <a:latin typeface="+mj-lt"/>
              </a:rPr>
              <a:t>4</a:t>
            </a:r>
          </a:p>
        </p:txBody>
      </p:sp>
      <p:sp>
        <p:nvSpPr>
          <p:cNvPr id="56" name="CuadroTexto 31">
            <a:extLst>
              <a:ext uri="{FF2B5EF4-FFF2-40B4-BE49-F238E27FC236}">
                <a16:creationId xmlns:a16="http://schemas.microsoft.com/office/drawing/2014/main" id="{43F442D3-417C-7891-CA97-87A294667AEA}"/>
              </a:ext>
            </a:extLst>
          </p:cNvPr>
          <p:cNvSpPr txBox="1"/>
          <p:nvPr/>
        </p:nvSpPr>
        <p:spPr>
          <a:xfrm>
            <a:off x="492940" y="5964395"/>
            <a:ext cx="3537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s-ES">
                <a:solidFill>
                  <a:schemeClr val="bg1"/>
                </a:solidFill>
                <a:latin typeface="+mj-lt"/>
              </a:rPr>
              <a:t>5</a:t>
            </a:r>
          </a:p>
        </p:txBody>
      </p:sp>
    </p:spTree>
    <p:extLst>
      <p:ext uri="{BB962C8B-B14F-4D97-AF65-F5344CB8AC3E}">
        <p14:creationId xmlns:p14="http://schemas.microsoft.com/office/powerpoint/2010/main" val="38584247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036CB811-2DD2-DE75-ABB7-E52DA506BF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9" name="think-cell data - do not delete" hidden="1">
                        <a:extLst>
                          <a:ext uri="{FF2B5EF4-FFF2-40B4-BE49-F238E27FC236}">
                            <a16:creationId xmlns:a16="http://schemas.microsoft.com/office/drawing/2014/main" id="{036CB811-2DD2-DE75-ABB7-E52DA506BF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969E69BA-655C-347F-C8AA-91519FE6CDC6}"/>
              </a:ext>
            </a:extLst>
          </p:cNvPr>
          <p:cNvSpPr>
            <a:spLocks noGrp="1"/>
          </p:cNvSpPr>
          <p:nvPr>
            <p:ph type="body" sz="quarter" idx="13"/>
          </p:nvPr>
        </p:nvSpPr>
        <p:spPr/>
        <p:txBody>
          <a:bodyPr vert="horz" lIns="91440" tIns="45720" rIns="91440" bIns="45720" rtlCol="0">
            <a:noAutofit/>
          </a:bodyPr>
          <a:lstStyle/>
          <a:p>
            <a:r>
              <a:rPr lang="en-US">
                <a:solidFill>
                  <a:srgbClr val="F86F35"/>
                </a:solidFill>
                <a:latin typeface="Open Sans ExtraBold" panose="020B0906030804020204" pitchFamily="34" charset="0"/>
                <a:ea typeface="Open Sans ExtraBold" panose="020B0906030804020204" pitchFamily="34" charset="0"/>
                <a:cs typeface="Open Sans ExtraBold" panose="020B0906030804020204" pitchFamily="34" charset="0"/>
              </a:rPr>
              <a:t>TECH NEARSHORE NEEDS</a:t>
            </a:r>
          </a:p>
        </p:txBody>
      </p:sp>
      <p:sp>
        <p:nvSpPr>
          <p:cNvPr id="3" name="Marcador de número de diapositiva 2">
            <a:extLst>
              <a:ext uri="{FF2B5EF4-FFF2-40B4-BE49-F238E27FC236}">
                <a16:creationId xmlns:a16="http://schemas.microsoft.com/office/drawing/2014/main" id="{D6695409-77C7-2F17-06B7-19F1B8759160}"/>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a:ln>
                  <a:noFill/>
                </a:ln>
                <a:solidFill>
                  <a:srgbClr val="00194F"/>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MX" sz="1200" b="0" i="0" u="none" strike="noStrike" kern="1200" cap="none" spc="0" normalizeH="0" baseline="0" noProof="0">
              <a:ln>
                <a:noFill/>
              </a:ln>
              <a:solidFill>
                <a:srgbClr val="00194F"/>
              </a:solidFill>
              <a:effectLst/>
              <a:uLnTx/>
              <a:uFillTx/>
              <a:latin typeface="Open Sans Light"/>
              <a:ea typeface="+mn-ea"/>
              <a:cs typeface="+mn-cs"/>
            </a:endParaRPr>
          </a:p>
        </p:txBody>
      </p:sp>
      <p:sp>
        <p:nvSpPr>
          <p:cNvPr id="7" name="Text Placeholder 8">
            <a:extLst>
              <a:ext uri="{FF2B5EF4-FFF2-40B4-BE49-F238E27FC236}">
                <a16:creationId xmlns:a16="http://schemas.microsoft.com/office/drawing/2014/main" id="{36A3F652-F263-5756-7594-1271CC5EFEC7}"/>
              </a:ext>
            </a:extLst>
          </p:cNvPr>
          <p:cNvSpPr txBox="1">
            <a:spLocks/>
          </p:cNvSpPr>
          <p:nvPr/>
        </p:nvSpPr>
        <p:spPr>
          <a:xfrm>
            <a:off x="525658" y="1185664"/>
            <a:ext cx="11160000" cy="435568"/>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20000"/>
              </a:lnSpc>
              <a:spcBef>
                <a:spcPts val="600"/>
              </a:spcBef>
              <a:spcAft>
                <a:spcPts val="600"/>
              </a:spcAft>
              <a:buNone/>
            </a:pPr>
            <a:r>
              <a:rPr lang="en-US" sz="2000" b="1">
                <a:latin typeface="Open Sans"/>
                <a:ea typeface="Open Sans"/>
                <a:cs typeface="Open Sans"/>
              </a:rPr>
              <a:t>Organizations need outsourced tech teams &amp; services that meet five core needs</a:t>
            </a:r>
            <a:r>
              <a:rPr lang="en-US" sz="2000">
                <a:latin typeface="Open Sans"/>
                <a:ea typeface="Open Sans"/>
                <a:cs typeface="Open Sans"/>
              </a:rPr>
              <a:t>:</a:t>
            </a:r>
            <a:endParaRPr lang="es-ES" sz="4400">
              <a:latin typeface="Open Sans"/>
              <a:ea typeface="Open Sans"/>
              <a:cs typeface="Open Sans"/>
            </a:endParaRPr>
          </a:p>
        </p:txBody>
      </p:sp>
      <p:sp>
        <p:nvSpPr>
          <p:cNvPr id="8" name="CuadroTexto 17">
            <a:extLst>
              <a:ext uri="{FF2B5EF4-FFF2-40B4-BE49-F238E27FC236}">
                <a16:creationId xmlns:a16="http://schemas.microsoft.com/office/drawing/2014/main" id="{D56296FC-F0D5-BF5A-F329-3A288E36D5D8}"/>
              </a:ext>
            </a:extLst>
          </p:cNvPr>
          <p:cNvSpPr txBox="1"/>
          <p:nvPr/>
        </p:nvSpPr>
        <p:spPr>
          <a:xfrm>
            <a:off x="1766701" y="2816873"/>
            <a:ext cx="1808664" cy="1015663"/>
          </a:xfrm>
          <a:prstGeom prst="rect">
            <a:avLst/>
          </a:prstGeom>
          <a:noFill/>
        </p:spPr>
        <p:txBody>
          <a:bodyPr wrap="square" lIns="91440" tIns="45720" rIns="91440" bIns="45720" anchor="t">
            <a:spAutoFit/>
          </a:bodyPr>
          <a:lstStyle/>
          <a:p>
            <a:pPr algn="r"/>
            <a:r>
              <a:rPr lang="en-US" sz="1200">
                <a:solidFill>
                  <a:srgbClr val="F86421"/>
                </a:solidFill>
                <a:latin typeface="Open Sans SemiBold"/>
                <a:ea typeface="Open Sans SemiBold"/>
                <a:cs typeface="Open Sans SemiBold"/>
              </a:rPr>
              <a:t>Expertise:</a:t>
            </a:r>
          </a:p>
          <a:p>
            <a:pPr algn="r"/>
            <a:r>
              <a:rPr lang="en-US" sz="1200">
                <a:solidFill>
                  <a:srgbClr val="3F5073"/>
                </a:solidFill>
                <a:latin typeface="Open Sans"/>
                <a:ea typeface="Open Sans"/>
                <a:cs typeface="Open Sans"/>
              </a:rPr>
              <a:t>Provide the necessary tech expertise for the current and future </a:t>
            </a:r>
            <a:r>
              <a:rPr lang="en-US" sz="1200" b="1">
                <a:solidFill>
                  <a:srgbClr val="3F5073"/>
                </a:solidFill>
                <a:latin typeface="Open Sans"/>
                <a:ea typeface="Open Sans"/>
                <a:cs typeface="Open Sans"/>
              </a:rPr>
              <a:t>financial landscape</a:t>
            </a:r>
            <a:r>
              <a:rPr lang="en-US" sz="1200">
                <a:solidFill>
                  <a:srgbClr val="3F5073"/>
                </a:solidFill>
                <a:latin typeface="Open Sans"/>
                <a:ea typeface="Open Sans"/>
                <a:cs typeface="Open Sans"/>
              </a:rPr>
              <a:t>.</a:t>
            </a:r>
            <a:endParaRPr lang="es-MX" sz="1200">
              <a:solidFill>
                <a:srgbClr val="3F5073"/>
              </a:solidFill>
              <a:latin typeface="Open Sans"/>
              <a:ea typeface="Open Sans"/>
              <a:cs typeface="Open Sans"/>
            </a:endParaRPr>
          </a:p>
        </p:txBody>
      </p:sp>
      <p:sp>
        <p:nvSpPr>
          <p:cNvPr id="9" name="CuadroTexto 19">
            <a:extLst>
              <a:ext uri="{FF2B5EF4-FFF2-40B4-BE49-F238E27FC236}">
                <a16:creationId xmlns:a16="http://schemas.microsoft.com/office/drawing/2014/main" id="{362547E9-501C-695B-194D-7437E67ED78A}"/>
              </a:ext>
            </a:extLst>
          </p:cNvPr>
          <p:cNvSpPr txBox="1"/>
          <p:nvPr/>
        </p:nvSpPr>
        <p:spPr>
          <a:xfrm>
            <a:off x="8616635" y="2816873"/>
            <a:ext cx="1808664" cy="1200329"/>
          </a:xfrm>
          <a:prstGeom prst="rect">
            <a:avLst/>
          </a:prstGeom>
          <a:noFill/>
        </p:spPr>
        <p:txBody>
          <a:bodyPr wrap="square" lIns="91440" tIns="45720" rIns="91440" bIns="45720" anchor="t">
            <a:spAutoFit/>
          </a:bodyPr>
          <a:lstStyle/>
          <a:p>
            <a:r>
              <a:rPr lang="en-US" sz="1200">
                <a:solidFill>
                  <a:srgbClr val="F86421"/>
                </a:solidFill>
                <a:latin typeface="Open Sans SemiBold"/>
                <a:ea typeface="Open Sans SemiBold"/>
                <a:cs typeface="Open Sans SemiBold"/>
              </a:rPr>
              <a:t>Geographical and Time Zone Proximity:</a:t>
            </a:r>
          </a:p>
          <a:p>
            <a:r>
              <a:rPr lang="en-US" sz="1200">
                <a:latin typeface="Open Sans"/>
                <a:ea typeface="Open Sans"/>
                <a:cs typeface="Open Sans"/>
              </a:rPr>
              <a:t>Enables effective communication across teams ensuring </a:t>
            </a:r>
            <a:r>
              <a:rPr lang="en-US" sz="1200" b="1">
                <a:latin typeface="Open Sans"/>
                <a:ea typeface="Open Sans"/>
                <a:cs typeface="Open Sans"/>
              </a:rPr>
              <a:t>same time zone</a:t>
            </a:r>
          </a:p>
        </p:txBody>
      </p:sp>
      <p:sp>
        <p:nvSpPr>
          <p:cNvPr id="10" name="CuadroTexto 21">
            <a:extLst>
              <a:ext uri="{FF2B5EF4-FFF2-40B4-BE49-F238E27FC236}">
                <a16:creationId xmlns:a16="http://schemas.microsoft.com/office/drawing/2014/main" id="{B5845815-C478-EA50-F6DA-9139DBC90D97}"/>
              </a:ext>
            </a:extLst>
          </p:cNvPr>
          <p:cNvSpPr txBox="1"/>
          <p:nvPr/>
        </p:nvSpPr>
        <p:spPr>
          <a:xfrm>
            <a:off x="2591871" y="4466426"/>
            <a:ext cx="1890109" cy="1015663"/>
          </a:xfrm>
          <a:prstGeom prst="rect">
            <a:avLst/>
          </a:prstGeom>
          <a:noFill/>
        </p:spPr>
        <p:txBody>
          <a:bodyPr wrap="square" lIns="91440" tIns="45720" rIns="91440" bIns="45720" anchor="t">
            <a:spAutoFit/>
          </a:bodyPr>
          <a:lstStyle/>
          <a:p>
            <a:pPr algn="r"/>
            <a:r>
              <a:rPr lang="en-US" sz="1200">
                <a:solidFill>
                  <a:srgbClr val="00194F"/>
                </a:solidFill>
                <a:latin typeface="Open Sans SemiBold"/>
                <a:ea typeface="Open Sans SemiBold"/>
                <a:cs typeface="Open Sans SemiBold"/>
              </a:rPr>
              <a:t>Availability:</a:t>
            </a:r>
          </a:p>
          <a:p>
            <a:pPr algn="r"/>
            <a:r>
              <a:rPr lang="en-US" sz="1200">
                <a:solidFill>
                  <a:srgbClr val="3F5073"/>
                </a:solidFill>
                <a:latin typeface="Open Sans"/>
                <a:ea typeface="Open Sans"/>
                <a:cs typeface="Open Sans"/>
              </a:rPr>
              <a:t>Be available when needed, aligned with the </a:t>
            </a:r>
            <a:r>
              <a:rPr lang="en-US" sz="1200" b="1">
                <a:solidFill>
                  <a:srgbClr val="3F5073"/>
                </a:solidFill>
                <a:latin typeface="Open Sans"/>
                <a:ea typeface="Open Sans"/>
                <a:cs typeface="Open Sans"/>
              </a:rPr>
              <a:t>variable demand</a:t>
            </a:r>
            <a:r>
              <a:rPr lang="en-US" sz="1200">
                <a:solidFill>
                  <a:srgbClr val="3F5073"/>
                </a:solidFill>
                <a:latin typeface="Open Sans"/>
                <a:ea typeface="Open Sans"/>
                <a:cs typeface="Open Sans"/>
              </a:rPr>
              <a:t> of tech initiatives.</a:t>
            </a:r>
            <a:endParaRPr lang="es-MX" sz="1200">
              <a:solidFill>
                <a:srgbClr val="3F5073"/>
              </a:solidFill>
              <a:latin typeface="Open Sans"/>
              <a:ea typeface="Open Sans"/>
              <a:cs typeface="Open Sans"/>
            </a:endParaRPr>
          </a:p>
        </p:txBody>
      </p:sp>
      <p:sp>
        <p:nvSpPr>
          <p:cNvPr id="11" name="CuadroTexto 22">
            <a:extLst>
              <a:ext uri="{FF2B5EF4-FFF2-40B4-BE49-F238E27FC236}">
                <a16:creationId xmlns:a16="http://schemas.microsoft.com/office/drawing/2014/main" id="{522EE534-32DE-941C-CD62-77C4D1B107BD}"/>
              </a:ext>
            </a:extLst>
          </p:cNvPr>
          <p:cNvSpPr txBox="1"/>
          <p:nvPr/>
        </p:nvSpPr>
        <p:spPr>
          <a:xfrm>
            <a:off x="7710022" y="4466425"/>
            <a:ext cx="2171700" cy="1200329"/>
          </a:xfrm>
          <a:prstGeom prst="rect">
            <a:avLst/>
          </a:prstGeom>
          <a:noFill/>
        </p:spPr>
        <p:txBody>
          <a:bodyPr wrap="square" lIns="91440" tIns="45720" rIns="91440" bIns="45720" anchor="t">
            <a:spAutoFit/>
          </a:bodyPr>
          <a:lstStyle/>
          <a:p>
            <a:r>
              <a:rPr lang="en-US" sz="1200">
                <a:solidFill>
                  <a:srgbClr val="00194F"/>
                </a:solidFill>
                <a:latin typeface="Open Sans SemiBold"/>
                <a:ea typeface="Open Sans SemiBold"/>
                <a:cs typeface="Open Sans SemiBold"/>
              </a:rPr>
              <a:t>Motivation and Retention:</a:t>
            </a:r>
          </a:p>
          <a:p>
            <a:r>
              <a:rPr lang="en-US" sz="1200" b="1">
                <a:solidFill>
                  <a:srgbClr val="3F5073"/>
                </a:solidFill>
                <a:latin typeface="Open Sans"/>
                <a:ea typeface="Open Sans"/>
                <a:cs typeface="Open Sans"/>
              </a:rPr>
              <a:t>Stay is not enough; to be motivated</a:t>
            </a:r>
            <a:r>
              <a:rPr lang="en-US" sz="1200">
                <a:solidFill>
                  <a:srgbClr val="3F5073"/>
                </a:solidFill>
                <a:latin typeface="Open Sans"/>
                <a:ea typeface="Open Sans"/>
                <a:cs typeface="Open Sans"/>
              </a:rPr>
              <a:t> and remain on projects long enough to minimize hidden costs from attrition.</a:t>
            </a:r>
            <a:endParaRPr lang="es-MX" sz="1200">
              <a:solidFill>
                <a:srgbClr val="3F5073"/>
              </a:solidFill>
              <a:latin typeface="Open Sans"/>
              <a:ea typeface="Open Sans"/>
              <a:cs typeface="Open Sans"/>
            </a:endParaRPr>
          </a:p>
        </p:txBody>
      </p:sp>
      <p:sp>
        <p:nvSpPr>
          <p:cNvPr id="13" name="CuadroTexto 23">
            <a:extLst>
              <a:ext uri="{FF2B5EF4-FFF2-40B4-BE49-F238E27FC236}">
                <a16:creationId xmlns:a16="http://schemas.microsoft.com/office/drawing/2014/main" id="{A48B2DAD-FD22-E0DA-0823-0A396D3CB2EC}"/>
              </a:ext>
            </a:extLst>
          </p:cNvPr>
          <p:cNvSpPr txBox="1"/>
          <p:nvPr/>
        </p:nvSpPr>
        <p:spPr>
          <a:xfrm>
            <a:off x="4889270" y="5184776"/>
            <a:ext cx="2490642" cy="1200329"/>
          </a:xfrm>
          <a:prstGeom prst="rect">
            <a:avLst/>
          </a:prstGeom>
          <a:noFill/>
        </p:spPr>
        <p:txBody>
          <a:bodyPr wrap="square" lIns="91440" tIns="45720" rIns="91440" bIns="45720" anchor="t">
            <a:spAutoFit/>
          </a:bodyPr>
          <a:lstStyle/>
          <a:p>
            <a:pPr algn="ctr"/>
            <a:r>
              <a:rPr lang="en-US" sz="1200">
                <a:solidFill>
                  <a:srgbClr val="F86421"/>
                </a:solidFill>
                <a:latin typeface="Open Sans SemiBold"/>
                <a:ea typeface="Open Sans SemiBold"/>
                <a:cs typeface="Open Sans SemiBold"/>
              </a:rPr>
              <a:t>Cost-effectiveness:</a:t>
            </a:r>
          </a:p>
          <a:p>
            <a:pPr algn="ctr"/>
            <a:r>
              <a:rPr lang="en-US" sz="1200">
                <a:latin typeface="Open Sans"/>
                <a:ea typeface="Open Sans"/>
                <a:cs typeface="Open Sans"/>
              </a:rPr>
              <a:t>Offer </a:t>
            </a:r>
            <a:r>
              <a:rPr lang="en-US" sz="1200" b="1">
                <a:latin typeface="Open Sans"/>
                <a:ea typeface="Open Sans"/>
                <a:cs typeface="Open Sans"/>
              </a:rPr>
              <a:t>competitive pricing</a:t>
            </a:r>
            <a:r>
              <a:rPr lang="en-US" sz="1200">
                <a:latin typeface="Open Sans"/>
                <a:ea typeface="Open Sans"/>
                <a:cs typeface="Open Sans"/>
              </a:rPr>
              <a:t>, lower than local hiring costs and competitive within the nearshore market. Range </a:t>
            </a:r>
            <a:r>
              <a:rPr lang="en-US" sz="1200" b="1">
                <a:latin typeface="Open Sans"/>
                <a:ea typeface="Open Sans"/>
                <a:cs typeface="Open Sans"/>
              </a:rPr>
              <a:t>$26 to $45 </a:t>
            </a:r>
            <a:r>
              <a:rPr lang="en-US" sz="1200">
                <a:latin typeface="Open Sans"/>
                <a:ea typeface="Open Sans"/>
                <a:cs typeface="Open Sans"/>
              </a:rPr>
              <a:t>USD depending seniority</a:t>
            </a:r>
            <a:endParaRPr lang="es-MX" sz="1200">
              <a:latin typeface="Open Sans"/>
              <a:ea typeface="Open Sans"/>
              <a:cs typeface="Open Sans"/>
            </a:endParaRPr>
          </a:p>
        </p:txBody>
      </p:sp>
      <p:pic>
        <p:nvPicPr>
          <p:cNvPr id="14" name="Imagen 6" descr="Diagrama&#10;&#10;Descripción generada automáticamente con confianza media">
            <a:extLst>
              <a:ext uri="{FF2B5EF4-FFF2-40B4-BE49-F238E27FC236}">
                <a16:creationId xmlns:a16="http://schemas.microsoft.com/office/drawing/2014/main" id="{1DB9A322-D2BF-BFD6-21AA-8581734109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15321" y="1762681"/>
            <a:ext cx="4961358" cy="3484647"/>
          </a:xfrm>
          <a:prstGeom prst="rect">
            <a:avLst/>
          </a:prstGeom>
        </p:spPr>
      </p:pic>
      <p:sp>
        <p:nvSpPr>
          <p:cNvPr id="2" name="CuadroTexto 1">
            <a:extLst>
              <a:ext uri="{FF2B5EF4-FFF2-40B4-BE49-F238E27FC236}">
                <a16:creationId xmlns:a16="http://schemas.microsoft.com/office/drawing/2014/main" id="{E7E0EAA5-63D1-E680-3347-008C3E4C7975}"/>
              </a:ext>
            </a:extLst>
          </p:cNvPr>
          <p:cNvSpPr txBox="1"/>
          <p:nvPr/>
        </p:nvSpPr>
        <p:spPr>
          <a:xfrm>
            <a:off x="11846564" y="6385105"/>
            <a:ext cx="374072" cy="46166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a:t>*</a:t>
            </a:r>
          </a:p>
        </p:txBody>
      </p:sp>
    </p:spTree>
    <p:extLst>
      <p:ext uri="{BB962C8B-B14F-4D97-AF65-F5344CB8AC3E}">
        <p14:creationId xmlns:p14="http://schemas.microsoft.com/office/powerpoint/2010/main" val="2680681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8AE40528-E9A6-B2C0-71FB-F1176A119EFB}"/>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44AD066-B476-3E01-3DB1-E92B0B2043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5" name="think-cell data - do not delete" hidden="1">
                        <a:extLst>
                          <a:ext uri="{FF2B5EF4-FFF2-40B4-BE49-F238E27FC236}">
                            <a16:creationId xmlns:a16="http://schemas.microsoft.com/office/drawing/2014/main" id="{C44AD066-B476-3E01-3DB1-E92B0B2043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08A691A9-B93C-E62A-5316-28AC5F492616}"/>
              </a:ext>
            </a:extLst>
          </p:cNvPr>
          <p:cNvSpPr>
            <a:spLocks noGrp="1"/>
          </p:cNvSpPr>
          <p:nvPr>
            <p:ph type="body" sz="quarter" idx="13"/>
          </p:nvPr>
        </p:nvSpPr>
        <p:spPr/>
        <p:txBody>
          <a:bodyPr/>
          <a:lstStyle/>
          <a:p>
            <a:r>
              <a:rPr lang="es-MX">
                <a:solidFill>
                  <a:srgbClr val="0111A2"/>
                </a:solidFill>
              </a:rPr>
              <a:t>STRATIS PRACTICES</a:t>
            </a:r>
          </a:p>
        </p:txBody>
      </p:sp>
      <p:sp>
        <p:nvSpPr>
          <p:cNvPr id="21" name="Marcador de número de diapositiva 2">
            <a:extLst>
              <a:ext uri="{FF2B5EF4-FFF2-40B4-BE49-F238E27FC236}">
                <a16:creationId xmlns:a16="http://schemas.microsoft.com/office/drawing/2014/main" id="{5E609974-BC23-86BD-D784-5AFB8588E0F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smtClean="0">
                <a:ln>
                  <a:noFill/>
                </a:ln>
                <a:solidFill>
                  <a:srgbClr val="3B43FB"/>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MX" sz="1200" b="0" i="0" u="none" strike="noStrike" kern="1200" cap="none" spc="0" normalizeH="0" baseline="0" noProof="0">
              <a:ln>
                <a:noFill/>
              </a:ln>
              <a:solidFill>
                <a:srgbClr val="3B43FB"/>
              </a:solidFill>
              <a:effectLst/>
              <a:uLnTx/>
              <a:uFillTx/>
              <a:latin typeface="Open Sans Light"/>
              <a:ea typeface="+mn-ea"/>
              <a:cs typeface="+mn-cs"/>
            </a:endParaRPr>
          </a:p>
        </p:txBody>
      </p:sp>
      <p:sp>
        <p:nvSpPr>
          <p:cNvPr id="12" name="CuadroTexto 4">
            <a:extLst>
              <a:ext uri="{FF2B5EF4-FFF2-40B4-BE49-F238E27FC236}">
                <a16:creationId xmlns:a16="http://schemas.microsoft.com/office/drawing/2014/main" id="{7276445A-4069-1ED9-2E4A-496BE7CED9CC}"/>
              </a:ext>
            </a:extLst>
          </p:cNvPr>
          <p:cNvSpPr txBox="1"/>
          <p:nvPr/>
        </p:nvSpPr>
        <p:spPr>
          <a:xfrm>
            <a:off x="527517" y="998629"/>
            <a:ext cx="11160000" cy="519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lnSpc>
                <a:spcPct val="120000"/>
              </a:lnSpc>
              <a:spcBef>
                <a:spcPts val="600"/>
              </a:spcBef>
              <a:spcAft>
                <a:spcPts val="600"/>
              </a:spcAft>
            </a:pPr>
            <a:r>
              <a:rPr lang="en-US" sz="1200">
                <a:latin typeface="Open Sans" panose="020B0606030504020204" pitchFamily="34" charset="0"/>
                <a:ea typeface="Open Sans" panose="020B0606030504020204" pitchFamily="34" charset="0"/>
                <a:cs typeface="Open Sans" panose="020B0606030504020204" pitchFamily="34" charset="0"/>
              </a:rPr>
              <a:t>At Stratis, our organizational structure and operational practices are designed to ensure </a:t>
            </a:r>
            <a:r>
              <a:rPr lang="en-US" sz="1200" b="1">
                <a:latin typeface="Open Sans" panose="020B0606030504020204" pitchFamily="34" charset="0"/>
                <a:ea typeface="Open Sans" panose="020B0606030504020204" pitchFamily="34" charset="0"/>
                <a:cs typeface="Open Sans" panose="020B0606030504020204" pitchFamily="34" charset="0"/>
              </a:rPr>
              <a:t>efficiency, adaptability, and value delivery</a:t>
            </a:r>
            <a:r>
              <a:rPr lang="en-US" sz="1200">
                <a:latin typeface="Open Sans" panose="020B0606030504020204" pitchFamily="34" charset="0"/>
                <a:ea typeface="Open Sans" panose="020B0606030504020204" pitchFamily="34" charset="0"/>
                <a:cs typeface="Open Sans" panose="020B0606030504020204" pitchFamily="34" charset="0"/>
              </a:rPr>
              <a:t> for our clients and talent. Here's an overview of how we are structured and the practices we follow to achieve excellence:</a:t>
            </a:r>
          </a:p>
        </p:txBody>
      </p:sp>
      <p:sp>
        <p:nvSpPr>
          <p:cNvPr id="26" name="Marcador de texto 1">
            <a:extLst>
              <a:ext uri="{FF2B5EF4-FFF2-40B4-BE49-F238E27FC236}">
                <a16:creationId xmlns:a16="http://schemas.microsoft.com/office/drawing/2014/main" id="{08B8D7D5-AE09-D83D-29A3-DBC59251FA7B}"/>
              </a:ext>
            </a:extLst>
          </p:cNvPr>
          <p:cNvSpPr txBox="1">
            <a:spLocks/>
          </p:cNvSpPr>
          <p:nvPr/>
        </p:nvSpPr>
        <p:spPr>
          <a:xfrm>
            <a:off x="5228440" y="1861084"/>
            <a:ext cx="1447573" cy="36933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a:gradFill flip="none" rotWithShape="1">
                  <a:gsLst>
                    <a:gs pos="0">
                      <a:srgbClr val="FF3306"/>
                    </a:gs>
                    <a:gs pos="100000">
                      <a:srgbClr val="FF7B5D"/>
                    </a:gs>
                  </a:gsLst>
                  <a:lin ang="8400000" scaled="0"/>
                  <a:tileRect/>
                </a:gra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a:solidFill>
                  <a:srgbClr val="0111A2"/>
                </a:solidFill>
                <a:latin typeface="Segoe UI"/>
                <a:cs typeface="Segoe UI"/>
              </a:rPr>
              <a:t>Practices:</a:t>
            </a:r>
            <a:endParaRPr lang="en-US" sz="1400">
              <a:solidFill>
                <a:srgbClr val="0111A2"/>
              </a:solidFill>
              <a:latin typeface="Aptos" panose="020B0004020202020204"/>
              <a:cs typeface="Segoe UI"/>
            </a:endParaRPr>
          </a:p>
        </p:txBody>
      </p:sp>
      <p:grpSp>
        <p:nvGrpSpPr>
          <p:cNvPr id="18" name="Group 17">
            <a:extLst>
              <a:ext uri="{FF2B5EF4-FFF2-40B4-BE49-F238E27FC236}">
                <a16:creationId xmlns:a16="http://schemas.microsoft.com/office/drawing/2014/main" id="{A6F4FAD1-5A83-1A69-54D0-65023A0AA8EC}"/>
              </a:ext>
            </a:extLst>
          </p:cNvPr>
          <p:cNvGrpSpPr/>
          <p:nvPr/>
        </p:nvGrpSpPr>
        <p:grpSpPr>
          <a:xfrm>
            <a:off x="385243" y="2481369"/>
            <a:ext cx="2236334" cy="1847413"/>
            <a:chOff x="612000" y="2265082"/>
            <a:chExt cx="2448000" cy="1786802"/>
          </a:xfrm>
        </p:grpSpPr>
        <p:sp>
          <p:nvSpPr>
            <p:cNvPr id="9" name="Rectángulo: esquinas redondeadas 36">
              <a:extLst>
                <a:ext uri="{FF2B5EF4-FFF2-40B4-BE49-F238E27FC236}">
                  <a16:creationId xmlns:a16="http://schemas.microsoft.com/office/drawing/2014/main" id="{FA0F49B4-0BC3-6EA7-7FCD-4F17CF2B94C4}"/>
                </a:ext>
              </a:extLst>
            </p:cNvPr>
            <p:cNvSpPr/>
            <p:nvPr/>
          </p:nvSpPr>
          <p:spPr>
            <a:xfrm>
              <a:off x="612000" y="2265082"/>
              <a:ext cx="2448000" cy="698833"/>
            </a:xfrm>
            <a:prstGeom prst="roundRect">
              <a:avLst/>
            </a:prstGeom>
            <a:solidFill>
              <a:srgbClr val="0111A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bg1"/>
                  </a:solidFill>
                  <a:latin typeface="Open Sans"/>
                  <a:ea typeface="Open Sans"/>
                  <a:cs typeface="Open Sans"/>
                </a:rPr>
                <a:t>1) Data Engineering</a:t>
              </a:r>
              <a:endParaRPr lang="es-MX" sz="1400" b="1">
                <a:solidFill>
                  <a:schemeClr val="bg1"/>
                </a:solidFill>
                <a:latin typeface="Open Sans"/>
                <a:ea typeface="Open Sans"/>
                <a:cs typeface="Open Sans"/>
              </a:endParaRPr>
            </a:p>
          </p:txBody>
        </p:sp>
        <p:sp>
          <p:nvSpPr>
            <p:cNvPr id="17" name="Text Placeholder 22">
              <a:extLst>
                <a:ext uri="{FF2B5EF4-FFF2-40B4-BE49-F238E27FC236}">
                  <a16:creationId xmlns:a16="http://schemas.microsoft.com/office/drawing/2014/main" id="{8256820C-3077-77A4-4399-B7C9DE365C63}"/>
                </a:ext>
              </a:extLst>
            </p:cNvPr>
            <p:cNvSpPr txBox="1">
              <a:spLocks/>
            </p:cNvSpPr>
            <p:nvPr/>
          </p:nvSpPr>
          <p:spPr>
            <a:xfrm>
              <a:off x="666000" y="3049302"/>
              <a:ext cx="2340000" cy="1002582"/>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86995">
                <a:lnSpc>
                  <a:spcPct val="120000"/>
                </a:lnSpc>
                <a:spcBef>
                  <a:spcPts val="0"/>
                </a:spcBef>
              </a:pPr>
              <a:r>
                <a:rPr lang="en-US" sz="1000">
                  <a:solidFill>
                    <a:srgbClr val="00194F"/>
                  </a:solidFill>
                  <a:latin typeface="Open Sans"/>
                  <a:ea typeface="Open Sans"/>
                  <a:cs typeface="Open Sans"/>
                </a:rPr>
                <a:t>Data </a:t>
              </a:r>
              <a:r>
                <a:rPr lang="en-US" sz="1000" b="1">
                  <a:solidFill>
                    <a:srgbClr val="00194F"/>
                  </a:solidFill>
                  <a:latin typeface="Open Sans"/>
                  <a:ea typeface="Open Sans"/>
                  <a:cs typeface="Open Sans"/>
                </a:rPr>
                <a:t>Visualization</a:t>
              </a:r>
            </a:p>
            <a:p>
              <a:pPr marL="86995" indent="-86995">
                <a:lnSpc>
                  <a:spcPct val="120000"/>
                </a:lnSpc>
                <a:spcBef>
                  <a:spcPts val="0"/>
                </a:spcBef>
              </a:pPr>
              <a:r>
                <a:rPr lang="en-US" sz="1000">
                  <a:solidFill>
                    <a:srgbClr val="00194F"/>
                  </a:solidFill>
                  <a:latin typeface="Open Sans"/>
                  <a:ea typeface="Open Sans"/>
                  <a:cs typeface="Open Sans"/>
                </a:rPr>
                <a:t>Architecture and </a:t>
              </a:r>
              <a:r>
                <a:rPr lang="en-US" sz="1000" b="1">
                  <a:solidFill>
                    <a:srgbClr val="00194F"/>
                  </a:solidFill>
                  <a:latin typeface="Open Sans"/>
                  <a:ea typeface="Open Sans"/>
                  <a:cs typeface="Open Sans"/>
                </a:rPr>
                <a:t>ETLs</a:t>
              </a:r>
              <a:r>
                <a:rPr lang="en-US" sz="1000">
                  <a:solidFill>
                    <a:srgbClr val="00194F"/>
                  </a:solidFill>
                  <a:latin typeface="Open Sans"/>
                  <a:ea typeface="Open Sans"/>
                  <a:cs typeface="Open Sans"/>
                </a:rPr>
                <a:t> (Extract, Transform, Load)</a:t>
              </a:r>
            </a:p>
            <a:p>
              <a:pPr marL="86995" indent="-86995">
                <a:lnSpc>
                  <a:spcPct val="120000"/>
                </a:lnSpc>
                <a:spcBef>
                  <a:spcPts val="0"/>
                </a:spcBef>
              </a:pPr>
              <a:r>
                <a:rPr lang="en-US" sz="1000">
                  <a:solidFill>
                    <a:srgbClr val="00194F"/>
                  </a:solidFill>
                  <a:latin typeface="Open Sans"/>
                  <a:ea typeface="Open Sans"/>
                  <a:cs typeface="Open Sans"/>
                </a:rPr>
                <a:t>Analytics and Predictive </a:t>
              </a:r>
              <a:r>
                <a:rPr lang="en-US" sz="1000" b="1">
                  <a:solidFill>
                    <a:srgbClr val="00194F"/>
                  </a:solidFill>
                  <a:latin typeface="Open Sans"/>
                  <a:ea typeface="Open Sans"/>
                  <a:cs typeface="Open Sans"/>
                </a:rPr>
                <a:t>Models</a:t>
              </a:r>
              <a:r>
                <a:rPr lang="en-US" sz="1000">
                  <a:solidFill>
                    <a:srgbClr val="00194F"/>
                  </a:solidFill>
                  <a:latin typeface="Open Sans"/>
                  <a:ea typeface="Open Sans"/>
                  <a:cs typeface="Open Sans"/>
                </a:rPr>
                <a:t>*</a:t>
              </a:r>
            </a:p>
            <a:p>
              <a:pPr marL="86995" indent="-86995">
                <a:lnSpc>
                  <a:spcPct val="120000"/>
                </a:lnSpc>
                <a:spcBef>
                  <a:spcPts val="0"/>
                </a:spcBef>
              </a:pPr>
              <a:r>
                <a:rPr lang="en-US" sz="1000" b="1">
                  <a:solidFill>
                    <a:srgbClr val="00194F"/>
                  </a:solidFill>
                  <a:latin typeface="Open Sans"/>
                  <a:ea typeface="Open Sans"/>
                  <a:cs typeface="Open Sans"/>
                </a:rPr>
                <a:t>Governance</a:t>
              </a:r>
            </a:p>
          </p:txBody>
        </p:sp>
      </p:grpSp>
      <p:grpSp>
        <p:nvGrpSpPr>
          <p:cNvPr id="20" name="Group 19">
            <a:extLst>
              <a:ext uri="{FF2B5EF4-FFF2-40B4-BE49-F238E27FC236}">
                <a16:creationId xmlns:a16="http://schemas.microsoft.com/office/drawing/2014/main" id="{1841876F-8291-5AB4-7DDB-BB4D208B37F1}"/>
              </a:ext>
            </a:extLst>
          </p:cNvPr>
          <p:cNvGrpSpPr/>
          <p:nvPr/>
        </p:nvGrpSpPr>
        <p:grpSpPr>
          <a:xfrm>
            <a:off x="2756132" y="2481365"/>
            <a:ext cx="2394000" cy="1662750"/>
            <a:chOff x="3390380" y="2204468"/>
            <a:chExt cx="2394000" cy="1662750"/>
          </a:xfrm>
        </p:grpSpPr>
        <p:sp>
          <p:nvSpPr>
            <p:cNvPr id="6" name="Rectángulo: esquinas redondeadas 34">
              <a:extLst>
                <a:ext uri="{FF2B5EF4-FFF2-40B4-BE49-F238E27FC236}">
                  <a16:creationId xmlns:a16="http://schemas.microsoft.com/office/drawing/2014/main" id="{DE972110-8849-D97A-898C-FF634505EE48}"/>
                </a:ext>
              </a:extLst>
            </p:cNvPr>
            <p:cNvSpPr/>
            <p:nvPr/>
          </p:nvSpPr>
          <p:spPr>
            <a:xfrm>
              <a:off x="3390380" y="2204468"/>
              <a:ext cx="2081112" cy="688888"/>
            </a:xfrm>
            <a:prstGeom prst="roundRect">
              <a:avLst/>
            </a:prstGeom>
            <a:solidFill>
              <a:srgbClr val="0111A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bg1"/>
                  </a:solidFill>
                  <a:latin typeface="Open Sans"/>
                  <a:ea typeface="Open Sans"/>
                  <a:cs typeface="Open Sans"/>
                </a:rPr>
                <a:t>2) Digital Transformation  </a:t>
              </a:r>
              <a:endParaRPr lang="es-ES" sz="1400" b="1">
                <a:solidFill>
                  <a:schemeClr val="bg1"/>
                </a:solidFill>
                <a:latin typeface="Open Sans"/>
                <a:ea typeface="Open Sans"/>
                <a:cs typeface="Open Sans"/>
              </a:endParaRPr>
            </a:p>
          </p:txBody>
        </p:sp>
        <p:sp>
          <p:nvSpPr>
            <p:cNvPr id="27" name="Text Placeholder 20">
              <a:extLst>
                <a:ext uri="{FF2B5EF4-FFF2-40B4-BE49-F238E27FC236}">
                  <a16:creationId xmlns:a16="http://schemas.microsoft.com/office/drawing/2014/main" id="{E08C1C26-0313-C7FC-9E1C-64C5DFEDE7AC}"/>
                </a:ext>
              </a:extLst>
            </p:cNvPr>
            <p:cNvSpPr txBox="1">
              <a:spLocks/>
            </p:cNvSpPr>
            <p:nvPr/>
          </p:nvSpPr>
          <p:spPr>
            <a:xfrm>
              <a:off x="3444380" y="3049302"/>
              <a:ext cx="2340000" cy="817916"/>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86995">
                <a:lnSpc>
                  <a:spcPct val="120000"/>
                </a:lnSpc>
                <a:spcBef>
                  <a:spcPts val="0"/>
                </a:spcBef>
              </a:pPr>
              <a:r>
                <a:rPr lang="en-US" sz="1000">
                  <a:solidFill>
                    <a:srgbClr val="00194F"/>
                  </a:solidFill>
                  <a:latin typeface="Open Sans"/>
                  <a:ea typeface="Open Sans"/>
                  <a:cs typeface="Open Sans"/>
                </a:rPr>
                <a:t>Digital Transformation Architecture (Consulting)</a:t>
              </a:r>
            </a:p>
            <a:p>
              <a:pPr marL="86995" indent="-86995">
                <a:lnSpc>
                  <a:spcPct val="120000"/>
                </a:lnSpc>
                <a:spcBef>
                  <a:spcPts val="0"/>
                </a:spcBef>
              </a:pPr>
              <a:r>
                <a:rPr lang="en-US" sz="1000">
                  <a:solidFill>
                    <a:srgbClr val="00194F"/>
                  </a:solidFill>
                  <a:latin typeface="Open Sans"/>
                  <a:ea typeface="Open Sans"/>
                  <a:cs typeface="Open Sans"/>
                </a:rPr>
                <a:t>Digital Agile Factory (Execution)</a:t>
              </a:r>
            </a:p>
            <a:p>
              <a:pPr marL="86995" indent="-86995">
                <a:lnSpc>
                  <a:spcPct val="120000"/>
                </a:lnSpc>
                <a:spcBef>
                  <a:spcPts val="0"/>
                </a:spcBef>
              </a:pPr>
              <a:r>
                <a:rPr lang="en-US" sz="1000">
                  <a:solidFill>
                    <a:srgbClr val="00194F"/>
                  </a:solidFill>
                  <a:latin typeface="Open Sans"/>
                  <a:ea typeface="Open Sans"/>
                  <a:cs typeface="Open Sans"/>
                </a:rPr>
                <a:t>Automation</a:t>
              </a:r>
              <a:endParaRPr lang="en-US" sz="1000">
                <a:solidFill>
                  <a:srgbClr val="00194F"/>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 name="Group 22">
            <a:extLst>
              <a:ext uri="{FF2B5EF4-FFF2-40B4-BE49-F238E27FC236}">
                <a16:creationId xmlns:a16="http://schemas.microsoft.com/office/drawing/2014/main" id="{0187E9E2-DC45-0F42-9082-CE6BE6A71800}"/>
              </a:ext>
            </a:extLst>
          </p:cNvPr>
          <p:cNvGrpSpPr/>
          <p:nvPr/>
        </p:nvGrpSpPr>
        <p:grpSpPr>
          <a:xfrm>
            <a:off x="4933040" y="2467256"/>
            <a:ext cx="2035205" cy="1734525"/>
            <a:chOff x="5778054" y="2373803"/>
            <a:chExt cx="2394000" cy="1678081"/>
          </a:xfrm>
        </p:grpSpPr>
        <p:sp>
          <p:nvSpPr>
            <p:cNvPr id="19" name="Text Placeholder 26">
              <a:extLst>
                <a:ext uri="{FF2B5EF4-FFF2-40B4-BE49-F238E27FC236}">
                  <a16:creationId xmlns:a16="http://schemas.microsoft.com/office/drawing/2014/main" id="{43EE5041-5881-75EB-65AF-7FD0C1B7D510}"/>
                </a:ext>
              </a:extLst>
            </p:cNvPr>
            <p:cNvSpPr txBox="1">
              <a:spLocks/>
            </p:cNvSpPr>
            <p:nvPr/>
          </p:nvSpPr>
          <p:spPr>
            <a:xfrm>
              <a:off x="5778054" y="3049302"/>
              <a:ext cx="2340000" cy="1002582"/>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86995">
                <a:lnSpc>
                  <a:spcPct val="120000"/>
                </a:lnSpc>
                <a:spcBef>
                  <a:spcPts val="0"/>
                </a:spcBef>
              </a:pPr>
              <a:r>
                <a:rPr lang="en-US" sz="1000">
                  <a:solidFill>
                    <a:srgbClr val="00194F"/>
                  </a:solidFill>
                  <a:latin typeface="Open Sans"/>
                  <a:ea typeface="Open Sans"/>
                  <a:cs typeface="Open Sans"/>
                </a:rPr>
                <a:t>Automation Gap Assessment</a:t>
              </a:r>
              <a:endParaRPr lang="es-ES" sz="1000">
                <a:solidFill>
                  <a:srgbClr val="00194F"/>
                </a:solidFill>
                <a:latin typeface="Open Sans"/>
                <a:ea typeface="Open Sans"/>
                <a:cs typeface="Open Sans"/>
              </a:endParaRPr>
            </a:p>
            <a:p>
              <a:pPr marL="86995" indent="-86995">
                <a:lnSpc>
                  <a:spcPct val="120000"/>
                </a:lnSpc>
                <a:spcBef>
                  <a:spcPts val="0"/>
                </a:spcBef>
              </a:pPr>
              <a:r>
                <a:rPr lang="en-US" sz="1000">
                  <a:solidFill>
                    <a:srgbClr val="00194F"/>
                  </a:solidFill>
                  <a:latin typeface="Open Sans"/>
                  <a:ea typeface="Open Sans"/>
                  <a:cs typeface="Open Sans"/>
                </a:rPr>
                <a:t>Software Testing Lifecycle, deep design, and </a:t>
              </a:r>
              <a:br>
                <a:rPr lang="en-US" sz="1000">
                  <a:solidFill>
                    <a:srgbClr val="00194F"/>
                  </a:solidFill>
                  <a:latin typeface="Open Sans"/>
                  <a:ea typeface="Open Sans"/>
                  <a:cs typeface="Open Sans"/>
                </a:rPr>
              </a:br>
              <a:r>
                <a:rPr lang="en-US" sz="1000">
                  <a:solidFill>
                    <a:srgbClr val="00194F"/>
                  </a:solidFill>
                  <a:latin typeface="Open Sans"/>
                  <a:ea typeface="Open Sans"/>
                  <a:cs typeface="Open Sans"/>
                </a:rPr>
                <a:t>productivity enhancement</a:t>
              </a:r>
            </a:p>
            <a:p>
              <a:pPr marL="86995" indent="-86995">
                <a:lnSpc>
                  <a:spcPct val="120000"/>
                </a:lnSpc>
                <a:spcBef>
                  <a:spcPts val="0"/>
                </a:spcBef>
              </a:pPr>
              <a:r>
                <a:rPr lang="en-US" sz="1000">
                  <a:solidFill>
                    <a:srgbClr val="00194F"/>
                  </a:solidFill>
                  <a:latin typeface="Open Sans"/>
                  <a:ea typeface="Open Sans"/>
                  <a:cs typeface="Open Sans"/>
                </a:rPr>
                <a:t>Automation in Selenium and UFT*</a:t>
              </a:r>
            </a:p>
          </p:txBody>
        </p:sp>
        <p:sp>
          <p:nvSpPr>
            <p:cNvPr id="3" name="Rectángulo: esquinas redondeadas 36">
              <a:extLst>
                <a:ext uri="{FF2B5EF4-FFF2-40B4-BE49-F238E27FC236}">
                  <a16:creationId xmlns:a16="http://schemas.microsoft.com/office/drawing/2014/main" id="{42C02BF6-4066-14D3-7F21-3305B20E766A}"/>
                </a:ext>
              </a:extLst>
            </p:cNvPr>
            <p:cNvSpPr/>
            <p:nvPr/>
          </p:nvSpPr>
          <p:spPr>
            <a:xfrm>
              <a:off x="5823646" y="2373803"/>
              <a:ext cx="2348408" cy="657910"/>
            </a:xfrm>
            <a:prstGeom prst="roundRect">
              <a:avLst/>
            </a:prstGeom>
            <a:solidFill>
              <a:srgbClr val="0111A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chemeClr val="bg1"/>
                  </a:solidFill>
                  <a:latin typeface="Open Sans"/>
                  <a:ea typeface="Open Sans"/>
                  <a:cs typeface="Open Sans"/>
                </a:rPr>
                <a:t>3) QA Engineering</a:t>
              </a:r>
              <a:endParaRPr lang="es-MX" sz="1400" b="1">
                <a:solidFill>
                  <a:schemeClr val="bg1"/>
                </a:solidFill>
                <a:latin typeface="Open Sans"/>
                <a:ea typeface="Open Sans"/>
                <a:cs typeface="Open Sans"/>
              </a:endParaRPr>
            </a:p>
          </p:txBody>
        </p:sp>
      </p:grpSp>
      <p:grpSp>
        <p:nvGrpSpPr>
          <p:cNvPr id="28" name="Group 27">
            <a:extLst>
              <a:ext uri="{FF2B5EF4-FFF2-40B4-BE49-F238E27FC236}">
                <a16:creationId xmlns:a16="http://schemas.microsoft.com/office/drawing/2014/main" id="{237F1BEA-CD6B-E1FA-E786-A09B7169FBBF}"/>
              </a:ext>
            </a:extLst>
          </p:cNvPr>
          <p:cNvGrpSpPr/>
          <p:nvPr/>
        </p:nvGrpSpPr>
        <p:grpSpPr>
          <a:xfrm>
            <a:off x="7142056" y="2469454"/>
            <a:ext cx="2081111" cy="1461974"/>
            <a:chOff x="1636916" y="4478024"/>
            <a:chExt cx="2588406" cy="1461974"/>
          </a:xfrm>
        </p:grpSpPr>
        <p:sp>
          <p:nvSpPr>
            <p:cNvPr id="7" name="Rectángulo: esquinas redondeadas 35">
              <a:extLst>
                <a:ext uri="{FF2B5EF4-FFF2-40B4-BE49-F238E27FC236}">
                  <a16:creationId xmlns:a16="http://schemas.microsoft.com/office/drawing/2014/main" id="{D75E43A5-6FCF-E3E3-6DFD-51AC05138D15}"/>
                </a:ext>
              </a:extLst>
            </p:cNvPr>
            <p:cNvSpPr/>
            <p:nvPr/>
          </p:nvSpPr>
          <p:spPr>
            <a:xfrm>
              <a:off x="1636916" y="4478024"/>
              <a:ext cx="2588406" cy="703000"/>
            </a:xfrm>
            <a:prstGeom prst="roundRect">
              <a:avLst/>
            </a:prstGeom>
            <a:solidFill>
              <a:srgbClr val="0111A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pPr algn="ctr"/>
              <a:r>
                <a:rPr lang="en-US" sz="1400" b="1">
                  <a:solidFill>
                    <a:schemeClr val="bg1"/>
                  </a:solidFill>
                  <a:latin typeface="Open Sans"/>
                  <a:ea typeface="Open Sans"/>
                  <a:cs typeface="Open Sans"/>
                </a:rPr>
                <a:t>4) Product </a:t>
              </a:r>
              <a:endParaRPr lang="es-ES" sz="1400" b="1">
                <a:solidFill>
                  <a:schemeClr val="bg1"/>
                </a:solidFill>
                <a:latin typeface="Open Sans"/>
                <a:ea typeface="Open Sans"/>
                <a:cs typeface="Open Sans"/>
              </a:endParaRPr>
            </a:p>
            <a:p>
              <a:pPr algn="ctr"/>
              <a:r>
                <a:rPr lang="en-US" sz="1400" b="1">
                  <a:solidFill>
                    <a:schemeClr val="bg1"/>
                  </a:solidFill>
                  <a:latin typeface="Open Sans"/>
                  <a:ea typeface="Open Sans"/>
                  <a:cs typeface="Open Sans"/>
                </a:rPr>
                <a:t>Development &amp; CX</a:t>
              </a:r>
              <a:endParaRPr lang="es-ES" sz="1400" b="1">
                <a:solidFill>
                  <a:schemeClr val="bg1"/>
                </a:solidFill>
                <a:latin typeface="Open Sans"/>
                <a:ea typeface="Open Sans"/>
                <a:cs typeface="Open Sans"/>
              </a:endParaRPr>
            </a:p>
          </p:txBody>
        </p:sp>
        <p:sp>
          <p:nvSpPr>
            <p:cNvPr id="13" name="Text Placeholder 20">
              <a:extLst>
                <a:ext uri="{FF2B5EF4-FFF2-40B4-BE49-F238E27FC236}">
                  <a16:creationId xmlns:a16="http://schemas.microsoft.com/office/drawing/2014/main" id="{28FB789E-28DD-0732-6E53-9717F1CBDA7D}"/>
                </a:ext>
              </a:extLst>
            </p:cNvPr>
            <p:cNvSpPr txBox="1">
              <a:spLocks/>
            </p:cNvSpPr>
            <p:nvPr/>
          </p:nvSpPr>
          <p:spPr>
            <a:xfrm>
              <a:off x="1831322" y="5306748"/>
              <a:ext cx="2340000" cy="63325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86995">
                <a:lnSpc>
                  <a:spcPct val="120000"/>
                </a:lnSpc>
                <a:spcBef>
                  <a:spcPts val="0"/>
                </a:spcBef>
              </a:pPr>
              <a:r>
                <a:rPr lang="en-US" sz="1000">
                  <a:solidFill>
                    <a:srgbClr val="00194F"/>
                  </a:solidFill>
                  <a:latin typeface="Open Sans"/>
                  <a:ea typeface="Open Sans"/>
                  <a:cs typeface="Open Sans"/>
                </a:rPr>
                <a:t>Customer Needs &amp; Journey</a:t>
              </a:r>
            </a:p>
            <a:p>
              <a:pPr marL="86995" indent="-86995">
                <a:lnSpc>
                  <a:spcPct val="120000"/>
                </a:lnSpc>
                <a:spcBef>
                  <a:spcPts val="0"/>
                </a:spcBef>
              </a:pPr>
              <a:r>
                <a:rPr lang="en-US" sz="1000">
                  <a:solidFill>
                    <a:srgbClr val="00194F"/>
                  </a:solidFill>
                  <a:latin typeface="Open Sans"/>
                  <a:ea typeface="Open Sans"/>
                  <a:cs typeface="Open Sans"/>
                </a:rPr>
                <a:t>Wireframes &amp; Prototypes</a:t>
              </a:r>
              <a:endParaRPr lang="en-US" sz="1000">
                <a:solidFill>
                  <a:srgbClr val="00194F"/>
                </a:solidFill>
                <a:latin typeface="Open Sans" panose="020B0606030504020204" pitchFamily="34" charset="0"/>
                <a:ea typeface="Open Sans" panose="020B0606030504020204" pitchFamily="34" charset="0"/>
                <a:cs typeface="Open Sans" panose="020B0606030504020204" pitchFamily="34" charset="0"/>
              </a:endParaRPr>
            </a:p>
            <a:p>
              <a:pPr marL="86995" indent="-86995">
                <a:lnSpc>
                  <a:spcPct val="120000"/>
                </a:lnSpc>
                <a:spcBef>
                  <a:spcPts val="0"/>
                </a:spcBef>
              </a:pPr>
              <a:r>
                <a:rPr lang="en-US" sz="1000">
                  <a:solidFill>
                    <a:srgbClr val="00194F"/>
                  </a:solidFill>
                  <a:latin typeface="Open Sans"/>
                  <a:ea typeface="Open Sans"/>
                  <a:cs typeface="Open Sans"/>
                </a:rPr>
                <a:t>MVPs development  / No-Code</a:t>
              </a:r>
            </a:p>
          </p:txBody>
        </p:sp>
      </p:grpSp>
      <p:grpSp>
        <p:nvGrpSpPr>
          <p:cNvPr id="24" name="Group 23">
            <a:extLst>
              <a:ext uri="{FF2B5EF4-FFF2-40B4-BE49-F238E27FC236}">
                <a16:creationId xmlns:a16="http://schemas.microsoft.com/office/drawing/2014/main" id="{ED030058-244B-FAAE-160C-9BD458E820A4}"/>
              </a:ext>
            </a:extLst>
          </p:cNvPr>
          <p:cNvGrpSpPr/>
          <p:nvPr/>
        </p:nvGrpSpPr>
        <p:grpSpPr>
          <a:xfrm>
            <a:off x="9400522" y="2470251"/>
            <a:ext cx="2456335" cy="1442854"/>
            <a:chOff x="10907744" y="6003429"/>
            <a:chExt cx="2510400" cy="1387134"/>
          </a:xfrm>
        </p:grpSpPr>
        <p:sp>
          <p:nvSpPr>
            <p:cNvPr id="2" name="Rectángulo: esquinas redondeadas 35">
              <a:extLst>
                <a:ext uri="{FF2B5EF4-FFF2-40B4-BE49-F238E27FC236}">
                  <a16:creationId xmlns:a16="http://schemas.microsoft.com/office/drawing/2014/main" id="{A7FF99E8-552F-51A7-C876-E8EF72250ED5}"/>
                </a:ext>
              </a:extLst>
            </p:cNvPr>
            <p:cNvSpPr/>
            <p:nvPr/>
          </p:nvSpPr>
          <p:spPr>
            <a:xfrm>
              <a:off x="10910990" y="6003429"/>
              <a:ext cx="2240727" cy="589566"/>
            </a:xfrm>
            <a:prstGeom prst="roundRect">
              <a:avLst/>
            </a:prstGeom>
            <a:solidFill>
              <a:srgbClr val="0111A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pPr algn="ctr"/>
              <a:r>
                <a:rPr lang="en-US" sz="1400" b="1">
                  <a:solidFill>
                    <a:schemeClr val="bg1"/>
                  </a:solidFill>
                  <a:latin typeface="Open Sans"/>
                  <a:ea typeface="Open Sans"/>
                  <a:cs typeface="Open Sans"/>
                </a:rPr>
                <a:t>5)  Business &amp; Tech Consulting</a:t>
              </a:r>
              <a:endParaRPr lang="es-ES" sz="1400" b="1">
                <a:solidFill>
                  <a:schemeClr val="bg1"/>
                </a:solidFill>
                <a:latin typeface="Open Sans"/>
                <a:ea typeface="Open Sans"/>
                <a:cs typeface="Open Sans"/>
              </a:endParaRPr>
            </a:p>
          </p:txBody>
        </p:sp>
        <p:sp>
          <p:nvSpPr>
            <p:cNvPr id="4" name="Text Placeholder 20">
              <a:extLst>
                <a:ext uri="{FF2B5EF4-FFF2-40B4-BE49-F238E27FC236}">
                  <a16:creationId xmlns:a16="http://schemas.microsoft.com/office/drawing/2014/main" id="{E7B584AB-85DA-4DD4-4BF9-9F75E5F3D807}"/>
                </a:ext>
              </a:extLst>
            </p:cNvPr>
            <p:cNvSpPr txBox="1">
              <a:spLocks/>
            </p:cNvSpPr>
            <p:nvPr/>
          </p:nvSpPr>
          <p:spPr>
            <a:xfrm>
              <a:off x="10907744" y="6604233"/>
              <a:ext cx="2510400" cy="78633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86995">
                <a:lnSpc>
                  <a:spcPct val="120000"/>
                </a:lnSpc>
                <a:spcBef>
                  <a:spcPts val="0"/>
                </a:spcBef>
              </a:pPr>
              <a:r>
                <a:rPr lang="en-US" sz="1000">
                  <a:solidFill>
                    <a:srgbClr val="00194F"/>
                  </a:solidFill>
                  <a:latin typeface="Open Sans"/>
                  <a:ea typeface="Open Sans"/>
                  <a:cs typeface="Open Sans"/>
                </a:rPr>
                <a:t>Process Intelligence, Improvement, &amp; Management</a:t>
              </a:r>
            </a:p>
            <a:p>
              <a:pPr marL="86995" indent="-86995">
                <a:lnSpc>
                  <a:spcPct val="120000"/>
                </a:lnSpc>
                <a:spcBef>
                  <a:spcPts val="0"/>
                </a:spcBef>
              </a:pPr>
              <a:r>
                <a:rPr lang="en-US" sz="1000">
                  <a:solidFill>
                    <a:srgbClr val="00194F"/>
                  </a:solidFill>
                  <a:latin typeface="Open Sans"/>
                  <a:ea typeface="Open Sans"/>
                  <a:cs typeface="Open Sans"/>
                </a:rPr>
                <a:t>Digital Evolution</a:t>
              </a:r>
            </a:p>
            <a:p>
              <a:pPr marL="86995" indent="-86995">
                <a:lnSpc>
                  <a:spcPct val="120000"/>
                </a:lnSpc>
                <a:spcBef>
                  <a:spcPts val="0"/>
                </a:spcBef>
              </a:pPr>
              <a:r>
                <a:rPr lang="en-US" sz="1000">
                  <a:solidFill>
                    <a:srgbClr val="00194F"/>
                  </a:solidFill>
                  <a:latin typeface="Open Sans"/>
                  <a:ea typeface="Open Sans"/>
                  <a:cs typeface="Open Sans"/>
                </a:rPr>
                <a:t>Strategic Business Transformation</a:t>
              </a:r>
            </a:p>
          </p:txBody>
        </p:sp>
      </p:grpSp>
      <p:sp>
        <p:nvSpPr>
          <p:cNvPr id="8" name="CuadroTexto 7">
            <a:extLst>
              <a:ext uri="{FF2B5EF4-FFF2-40B4-BE49-F238E27FC236}">
                <a16:creationId xmlns:a16="http://schemas.microsoft.com/office/drawing/2014/main" id="{5AF58997-3051-E613-D1D3-6400EF140B19}"/>
              </a:ext>
            </a:extLst>
          </p:cNvPr>
          <p:cNvSpPr txBox="1"/>
          <p:nvPr/>
        </p:nvSpPr>
        <p:spPr>
          <a:xfrm>
            <a:off x="4620874" y="5674200"/>
            <a:ext cx="29502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3B43FB"/>
                </a:solidFill>
                <a:latin typeface="Segoe UI"/>
              </a:rPr>
              <a:t>6) Stratis Agile</a:t>
            </a:r>
            <a:endParaRPr lang="es-ES">
              <a:solidFill>
                <a:srgbClr val="3B43FB"/>
              </a:solidFill>
            </a:endParaRPr>
          </a:p>
        </p:txBody>
      </p:sp>
      <p:sp>
        <p:nvSpPr>
          <p:cNvPr id="14" name="Text Placeholder 20">
            <a:extLst>
              <a:ext uri="{FF2B5EF4-FFF2-40B4-BE49-F238E27FC236}">
                <a16:creationId xmlns:a16="http://schemas.microsoft.com/office/drawing/2014/main" id="{A7024CF1-54AF-28CD-583B-C92869086D08}"/>
              </a:ext>
            </a:extLst>
          </p:cNvPr>
          <p:cNvSpPr txBox="1">
            <a:spLocks/>
          </p:cNvSpPr>
          <p:nvPr/>
        </p:nvSpPr>
        <p:spPr>
          <a:xfrm>
            <a:off x="4656000" y="6060572"/>
            <a:ext cx="2880000" cy="44858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86995" algn="ctr">
              <a:lnSpc>
                <a:spcPct val="120000"/>
              </a:lnSpc>
              <a:spcBef>
                <a:spcPts val="0"/>
              </a:spcBef>
            </a:pPr>
            <a:r>
              <a:rPr lang="en-US" sz="1000">
                <a:solidFill>
                  <a:srgbClr val="00194F"/>
                </a:solidFill>
                <a:latin typeface="Open Sans"/>
                <a:ea typeface="Open Sans"/>
                <a:cs typeface="Open Sans"/>
              </a:rPr>
              <a:t> Pods</a:t>
            </a:r>
          </a:p>
          <a:p>
            <a:pPr marL="86995" indent="-86995" algn="ctr">
              <a:lnSpc>
                <a:spcPct val="120000"/>
              </a:lnSpc>
              <a:spcBef>
                <a:spcPts val="0"/>
              </a:spcBef>
            </a:pPr>
            <a:r>
              <a:rPr lang="en-US" sz="1000">
                <a:solidFill>
                  <a:srgbClr val="00194F"/>
                </a:solidFill>
                <a:latin typeface="Open Sans"/>
                <a:ea typeface="Open Sans"/>
                <a:cs typeface="Open Sans"/>
              </a:rPr>
              <a:t>Agile Management</a:t>
            </a:r>
          </a:p>
        </p:txBody>
      </p:sp>
      <p:pic>
        <p:nvPicPr>
          <p:cNvPr id="22" name="Imagen 44" descr="Imagen en blanco y negro&#10;&#10;Descripción generada automáticamente con confianza baja">
            <a:extLst>
              <a:ext uri="{FF2B5EF4-FFF2-40B4-BE49-F238E27FC236}">
                <a16:creationId xmlns:a16="http://schemas.microsoft.com/office/drawing/2014/main" id="{0E684B10-CB98-24D6-9164-C7DEBEFBAD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9407" y="4580704"/>
            <a:ext cx="5417555" cy="637223"/>
          </a:xfrm>
          <a:prstGeom prst="rect">
            <a:avLst/>
          </a:prstGeom>
        </p:spPr>
      </p:pic>
      <p:pic>
        <p:nvPicPr>
          <p:cNvPr id="29" name="Imagen 6" descr="Imagen en blanco y negro&#10;&#10;Descripción generada automáticamente con confianza baja">
            <a:extLst>
              <a:ext uri="{FF2B5EF4-FFF2-40B4-BE49-F238E27FC236}">
                <a16:creationId xmlns:a16="http://schemas.microsoft.com/office/drawing/2014/main" id="{2D36D170-81A8-19B3-A536-54FC9213753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6658866" y="4410922"/>
            <a:ext cx="5276443" cy="807005"/>
          </a:xfrm>
          <a:prstGeom prst="rect">
            <a:avLst/>
          </a:prstGeom>
        </p:spPr>
      </p:pic>
      <p:pic>
        <p:nvPicPr>
          <p:cNvPr id="31" name="Graphic 43" descr="Direction with solid fill">
            <a:extLst>
              <a:ext uri="{FF2B5EF4-FFF2-40B4-BE49-F238E27FC236}">
                <a16:creationId xmlns:a16="http://schemas.microsoft.com/office/drawing/2014/main" id="{B578B1F4-63C1-7574-C717-A6832B1098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7997789">
            <a:off x="5815730" y="4864245"/>
            <a:ext cx="540000" cy="568222"/>
          </a:xfrm>
          <a:prstGeom prst="rect">
            <a:avLst/>
          </a:prstGeom>
        </p:spPr>
      </p:pic>
    </p:spTree>
    <p:extLst>
      <p:ext uri="{BB962C8B-B14F-4D97-AF65-F5344CB8AC3E}">
        <p14:creationId xmlns:p14="http://schemas.microsoft.com/office/powerpoint/2010/main" val="2675573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BF933D-C57A-89F7-70D7-84AB86FDE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BBBF933D-C57A-89F7-70D7-84AB86FDE8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1">
            <a:extLst>
              <a:ext uri="{FF2B5EF4-FFF2-40B4-BE49-F238E27FC236}">
                <a16:creationId xmlns:a16="http://schemas.microsoft.com/office/drawing/2014/main" id="{D61336D5-7B23-0C4F-33B8-0F209C292EB0}"/>
              </a:ext>
            </a:extLst>
          </p:cNvPr>
          <p:cNvSpPr txBox="1">
            <a:spLocks/>
          </p:cNvSpPr>
          <p:nvPr/>
        </p:nvSpPr>
        <p:spPr>
          <a:xfrm>
            <a:off x="2646878" y="2826918"/>
            <a:ext cx="6898244" cy="120416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3600" cap="all">
                <a:solidFill>
                  <a:srgbClr val="F86F35"/>
                </a:solidFill>
                <a:latin typeface="Open Sans ExtraBold"/>
                <a:ea typeface="Open Sans ExtraBold"/>
                <a:cs typeface="Open Sans ExtraBold"/>
              </a:rPr>
              <a:t>TESTING MANAGED SERVICES</a:t>
            </a:r>
          </a:p>
        </p:txBody>
      </p:sp>
      <p:sp>
        <p:nvSpPr>
          <p:cNvPr id="2" name="Slide Number Placeholder 1">
            <a:extLst>
              <a:ext uri="{FF2B5EF4-FFF2-40B4-BE49-F238E27FC236}">
                <a16:creationId xmlns:a16="http://schemas.microsoft.com/office/drawing/2014/main" id="{9FE634BC-3C31-D800-A63D-E9A0FD7FDA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556C4-DFC3-4611-A7CC-780699185E26}" type="slidenum">
              <a:rPr kumimoji="0" lang="es-ES" sz="1200" b="0" i="0" u="none" strike="noStrike" kern="1200" cap="none" spc="0" normalizeH="0" baseline="0" noProof="0" smtClean="0">
                <a:ln>
                  <a:noFill/>
                </a:ln>
                <a:solidFill>
                  <a:srgbClr val="3F5073">
                    <a:tint val="82000"/>
                  </a:srgbClr>
                </a:solidFill>
                <a:effectLst/>
                <a:uLnTx/>
                <a:uFillTx/>
                <a:latin typeface="Aptos" panose="020B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ES" sz="1200" b="0" i="0" u="none" strike="noStrike" kern="1200" cap="none" spc="0" normalizeH="0" baseline="0" noProof="0">
              <a:ln>
                <a:noFill/>
              </a:ln>
              <a:solidFill>
                <a:srgbClr val="3F5073">
                  <a:tint val="82000"/>
                </a:srgbClr>
              </a:solidFill>
              <a:effectLst/>
              <a:uLnTx/>
              <a:uFillTx/>
              <a:latin typeface="Aptos" panose="020B0004020202020204"/>
              <a:ea typeface="+mn-ea"/>
              <a:cs typeface="+mn-cs"/>
            </a:endParaRPr>
          </a:p>
        </p:txBody>
      </p:sp>
    </p:spTree>
    <p:extLst>
      <p:ext uri="{BB962C8B-B14F-4D97-AF65-F5344CB8AC3E}">
        <p14:creationId xmlns:p14="http://schemas.microsoft.com/office/powerpoint/2010/main" val="73796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a:extLst>
            <a:ext uri="{FF2B5EF4-FFF2-40B4-BE49-F238E27FC236}">
              <a16:creationId xmlns:a16="http://schemas.microsoft.com/office/drawing/2014/main" id="{AEF485B6-D26A-6700-E688-C60F3D563751}"/>
            </a:ext>
          </a:extLst>
        </p:cNvPr>
        <p:cNvGrpSpPr/>
        <p:nvPr/>
      </p:nvGrpSpPr>
      <p:grpSpPr>
        <a:xfrm>
          <a:off x="0" y="0"/>
          <a:ext cx="0" cy="0"/>
          <a:chOff x="0" y="0"/>
          <a:chExt cx="0" cy="0"/>
        </a:xfrm>
      </p:grpSpPr>
      <p:pic>
        <p:nvPicPr>
          <p:cNvPr id="40" name="Imagen 39" descr="Icono&#10;&#10;El contenido generado por IA puede ser incorrecto.">
            <a:extLst>
              <a:ext uri="{FF2B5EF4-FFF2-40B4-BE49-F238E27FC236}">
                <a16:creationId xmlns:a16="http://schemas.microsoft.com/office/drawing/2014/main" id="{CE1169EA-804D-E70A-435D-325E7288E9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81152" y="2221811"/>
            <a:ext cx="2221105" cy="2213524"/>
          </a:xfrm>
          <a:prstGeom prst="rect">
            <a:avLst/>
          </a:prstGeom>
        </p:spPr>
      </p:pic>
      <p:graphicFrame>
        <p:nvGraphicFramePr>
          <p:cNvPr id="1210" name="think-cell data - do not delete" hidden="1">
            <a:extLst>
              <a:ext uri="{FF2B5EF4-FFF2-40B4-BE49-F238E27FC236}">
                <a16:creationId xmlns:a16="http://schemas.microsoft.com/office/drawing/2014/main" id="{440BBEB8-B3EA-3B85-806B-8A2F2227DA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210" name="think-cell data - do not delete" hidden="1">
                        <a:extLst>
                          <a:ext uri="{FF2B5EF4-FFF2-40B4-BE49-F238E27FC236}">
                            <a16:creationId xmlns:a16="http://schemas.microsoft.com/office/drawing/2014/main" id="{440BBEB8-B3EA-3B85-806B-8A2F2227DAC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Marcador de número de diapositiva 2">
            <a:extLst>
              <a:ext uri="{FF2B5EF4-FFF2-40B4-BE49-F238E27FC236}">
                <a16:creationId xmlns:a16="http://schemas.microsoft.com/office/drawing/2014/main" id="{402F8DAA-4363-A8AD-6C1A-68FAE8B6D2AA}"/>
              </a:ext>
            </a:extLst>
          </p:cNvPr>
          <p:cNvSpPr>
            <a:spLocks noGrp="1"/>
          </p:cNvSpPr>
          <p:nvPr>
            <p:ph type="sldNum" sz="quarter" idx="2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smtClean="0">
                <a:ln>
                  <a:noFill/>
                </a:ln>
                <a:solidFill>
                  <a:srgbClr val="FF8367"/>
                </a:solidFill>
                <a:effectLst/>
                <a:uLnTx/>
                <a:uFillTx/>
                <a:latin typeface="Open Sans Light"/>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a:t>
            </a:fld>
            <a:endParaRPr kumimoji="0" lang="es-MX" sz="1200" b="0" i="0" u="none" strike="noStrike" kern="1200" cap="none" spc="0" normalizeH="0" baseline="0" noProof="0">
              <a:ln>
                <a:noFill/>
              </a:ln>
              <a:solidFill>
                <a:srgbClr val="FF8367"/>
              </a:solidFill>
              <a:effectLst/>
              <a:uLnTx/>
              <a:uFillTx/>
              <a:latin typeface="Open Sans Light"/>
              <a:ea typeface="+mn-ea"/>
              <a:cs typeface="+mn-cs"/>
            </a:endParaRPr>
          </a:p>
        </p:txBody>
      </p:sp>
      <p:sp>
        <p:nvSpPr>
          <p:cNvPr id="4" name="Text Placeholder 1">
            <a:extLst>
              <a:ext uri="{FF2B5EF4-FFF2-40B4-BE49-F238E27FC236}">
                <a16:creationId xmlns:a16="http://schemas.microsoft.com/office/drawing/2014/main" id="{500E86EF-F33F-7446-3BBC-329AFEAAD34E}"/>
              </a:ext>
            </a:extLst>
          </p:cNvPr>
          <p:cNvSpPr txBox="1">
            <a:spLocks/>
          </p:cNvSpPr>
          <p:nvPr/>
        </p:nvSpPr>
        <p:spPr>
          <a:xfrm>
            <a:off x="525657" y="230882"/>
            <a:ext cx="10473176" cy="369332"/>
          </a:xfrm>
          <a:prstGeom prst="rect">
            <a:avLst/>
          </a:prstGeom>
        </p:spPr>
        <p:txBody>
          <a:bodyPr vert="horz" wrap="square" lIns="91440" tIns="45720" rIns="91440" bIns="45720" rtlCol="0" anchor="t">
            <a:spAutoFit/>
          </a:bodyPr>
          <a:lstStyle>
            <a:defPPr>
              <a:defRPr lang="es-ES"/>
            </a:defPPr>
            <a:lvl1pPr marR="0" lvl="0" indent="0" fontAlgn="auto">
              <a:lnSpc>
                <a:spcPct val="90000"/>
              </a:lnSpc>
              <a:spcBef>
                <a:spcPts val="1000"/>
              </a:spcBef>
              <a:spcAft>
                <a:spcPts val="0"/>
              </a:spcAft>
              <a:buClrTx/>
              <a:buSzTx/>
              <a:buFont typeface="Arial" panose="020B0604020202020204" pitchFamily="34" charset="0"/>
              <a:buNone/>
              <a:tabLst/>
              <a:defRPr kumimoji="0" sz="2000" b="0" i="0" u="none" strike="noStrike" cap="none" spc="0" normalizeH="0" baseline="0">
                <a:ln>
                  <a:noFill/>
                </a:ln>
                <a:gradFill>
                  <a:gsLst>
                    <a:gs pos="0">
                      <a:srgbClr val="FF8367"/>
                    </a:gs>
                    <a:gs pos="85000">
                      <a:srgbClr val="FF2E00"/>
                    </a:gs>
                  </a:gsLst>
                  <a:lin ang="0" scaled="1"/>
                </a:gradFill>
                <a:effectLst/>
                <a:uLnTx/>
                <a:uFillTx/>
                <a:latin typeface="Open Sans ExtraBold"/>
                <a:ea typeface="Open Sans ExtraBold"/>
                <a:cs typeface="Open Sans ExtraBold"/>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MX">
                <a:solidFill>
                  <a:srgbClr val="F86F35"/>
                </a:solidFill>
              </a:rPr>
              <a:t>STRATIS AGILE QA-AI ENGINEERING</a:t>
            </a:r>
            <a:endParaRPr lang="es-MX">
              <a:solidFill>
                <a:srgbClr val="F86F35"/>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pSp>
        <p:nvGrpSpPr>
          <p:cNvPr id="1375" name="Group 1374">
            <a:extLst>
              <a:ext uri="{FF2B5EF4-FFF2-40B4-BE49-F238E27FC236}">
                <a16:creationId xmlns:a16="http://schemas.microsoft.com/office/drawing/2014/main" id="{499C8496-C75A-4D4A-B810-7DA157A1C7A0}"/>
              </a:ext>
            </a:extLst>
          </p:cNvPr>
          <p:cNvGrpSpPr/>
          <p:nvPr/>
        </p:nvGrpSpPr>
        <p:grpSpPr>
          <a:xfrm>
            <a:off x="2224137" y="913614"/>
            <a:ext cx="659794" cy="265088"/>
            <a:chOff x="1139602" y="1220047"/>
            <a:chExt cx="659794" cy="265088"/>
          </a:xfrm>
        </p:grpSpPr>
        <p:sp>
          <p:nvSpPr>
            <p:cNvPr id="1537" name="Elipse 4">
              <a:extLst>
                <a:ext uri="{FF2B5EF4-FFF2-40B4-BE49-F238E27FC236}">
                  <a16:creationId xmlns:a16="http://schemas.microsoft.com/office/drawing/2014/main" id="{5E0FF2C4-13CA-56EE-7990-242EF520DA63}"/>
                </a:ext>
              </a:extLst>
            </p:cNvPr>
            <p:cNvSpPr/>
            <p:nvPr/>
          </p:nvSpPr>
          <p:spPr>
            <a:xfrm>
              <a:off x="1139602" y="1220047"/>
              <a:ext cx="265088" cy="265088"/>
            </a:xfrm>
            <a:prstGeom prst="ellipse">
              <a:avLst/>
            </a:prstGeom>
            <a:solidFill>
              <a:srgbClr val="0111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MX"/>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MX" sz="1000" b="1">
                  <a:solidFill>
                    <a:schemeClr val="bg1"/>
                  </a:solidFill>
                  <a:latin typeface="+mj-lt"/>
                  <a:ea typeface="Open Sans" panose="020B0606030504020204" pitchFamily="34" charset="0"/>
                  <a:cs typeface="Calibri" panose="020F0502020204030204" pitchFamily="34" charset="0"/>
                </a:rPr>
                <a:t>A</a:t>
              </a:r>
            </a:p>
          </p:txBody>
        </p:sp>
        <p:pic>
          <p:nvPicPr>
            <p:cNvPr id="1556" name="Graphic 1555">
              <a:extLst>
                <a:ext uri="{FF2B5EF4-FFF2-40B4-BE49-F238E27FC236}">
                  <a16:creationId xmlns:a16="http://schemas.microsoft.com/office/drawing/2014/main" id="{49915F7E-6F8B-F225-55C4-CBD1C36D3026}"/>
                </a:ext>
              </a:extLst>
            </p:cNvPr>
            <p:cNvPicPr>
              <a:picLocks/>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1546983" y="1220047"/>
              <a:ext cx="252413" cy="252413"/>
            </a:xfrm>
            <a:prstGeom prst="rect">
              <a:avLst/>
            </a:prstGeom>
          </p:spPr>
        </p:pic>
      </p:grpSp>
      <p:grpSp>
        <p:nvGrpSpPr>
          <p:cNvPr id="2" name="Grupo 1">
            <a:extLst>
              <a:ext uri="{FF2B5EF4-FFF2-40B4-BE49-F238E27FC236}">
                <a16:creationId xmlns:a16="http://schemas.microsoft.com/office/drawing/2014/main" id="{2B763869-1C23-9592-8AB8-E66B14E59A16}"/>
              </a:ext>
            </a:extLst>
          </p:cNvPr>
          <p:cNvGrpSpPr/>
          <p:nvPr/>
        </p:nvGrpSpPr>
        <p:grpSpPr>
          <a:xfrm>
            <a:off x="3081868" y="677274"/>
            <a:ext cx="1460152" cy="737769"/>
            <a:chOff x="3224122" y="983707"/>
            <a:chExt cx="1460152" cy="737769"/>
          </a:xfrm>
          <a:solidFill>
            <a:srgbClr val="3B43FB"/>
          </a:solidFill>
        </p:grpSpPr>
        <p:sp>
          <p:nvSpPr>
            <p:cNvPr id="1367" name="Freeform 45">
              <a:extLst>
                <a:ext uri="{FF2B5EF4-FFF2-40B4-BE49-F238E27FC236}">
                  <a16:creationId xmlns:a16="http://schemas.microsoft.com/office/drawing/2014/main" id="{8623176E-C224-5BAF-6C66-332C06ABF8E1}"/>
                </a:ext>
              </a:extLst>
            </p:cNvPr>
            <p:cNvSpPr>
              <a:spLocks noChangeArrowheads="1"/>
            </p:cNvSpPr>
            <p:nvPr/>
          </p:nvSpPr>
          <p:spPr bwMode="auto">
            <a:xfrm>
              <a:off x="3224122" y="983707"/>
              <a:ext cx="1460152" cy="737769"/>
            </a:xfrm>
            <a:custGeom>
              <a:avLst/>
              <a:gdLst>
                <a:gd name="T0" fmla="*/ 3876 w 4081"/>
                <a:gd name="T1" fmla="*/ 2428 h 2429"/>
                <a:gd name="T2" fmla="*/ 204 w 4081"/>
                <a:gd name="T3" fmla="*/ 2428 h 2429"/>
                <a:gd name="T4" fmla="*/ 204 w 4081"/>
                <a:gd name="T5" fmla="*/ 2428 h 2429"/>
                <a:gd name="T6" fmla="*/ 0 w 4081"/>
                <a:gd name="T7" fmla="*/ 2225 h 2429"/>
                <a:gd name="T8" fmla="*/ 0 w 4081"/>
                <a:gd name="T9" fmla="*/ 204 h 2429"/>
                <a:gd name="T10" fmla="*/ 0 w 4081"/>
                <a:gd name="T11" fmla="*/ 204 h 2429"/>
                <a:gd name="T12" fmla="*/ 204 w 4081"/>
                <a:gd name="T13" fmla="*/ 0 h 2429"/>
                <a:gd name="T14" fmla="*/ 3876 w 4081"/>
                <a:gd name="T15" fmla="*/ 0 h 2429"/>
                <a:gd name="T16" fmla="*/ 3876 w 4081"/>
                <a:gd name="T17" fmla="*/ 0 h 2429"/>
                <a:gd name="T18" fmla="*/ 4080 w 4081"/>
                <a:gd name="T19" fmla="*/ 204 h 2429"/>
                <a:gd name="T20" fmla="*/ 4080 w 4081"/>
                <a:gd name="T21" fmla="*/ 2225 h 2429"/>
                <a:gd name="T22" fmla="*/ 4080 w 4081"/>
                <a:gd name="T23" fmla="*/ 2225 h 2429"/>
                <a:gd name="T24" fmla="*/ 3876 w 4081"/>
                <a:gd name="T25" fmla="*/ 2428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81" h="2429">
                  <a:moveTo>
                    <a:pt x="3876" y="2428"/>
                  </a:moveTo>
                  <a:lnTo>
                    <a:pt x="204" y="2428"/>
                  </a:lnTo>
                  <a:lnTo>
                    <a:pt x="204" y="2428"/>
                  </a:lnTo>
                  <a:cubicBezTo>
                    <a:pt x="92" y="2428"/>
                    <a:pt x="0" y="2337"/>
                    <a:pt x="0" y="2225"/>
                  </a:cubicBezTo>
                  <a:lnTo>
                    <a:pt x="0" y="204"/>
                  </a:lnTo>
                  <a:lnTo>
                    <a:pt x="0" y="204"/>
                  </a:lnTo>
                  <a:cubicBezTo>
                    <a:pt x="0" y="91"/>
                    <a:pt x="92" y="0"/>
                    <a:pt x="204" y="0"/>
                  </a:cubicBezTo>
                  <a:lnTo>
                    <a:pt x="3876" y="0"/>
                  </a:lnTo>
                  <a:lnTo>
                    <a:pt x="3876" y="0"/>
                  </a:lnTo>
                  <a:cubicBezTo>
                    <a:pt x="3988" y="0"/>
                    <a:pt x="4080" y="91"/>
                    <a:pt x="4080" y="204"/>
                  </a:cubicBezTo>
                  <a:lnTo>
                    <a:pt x="4080" y="2225"/>
                  </a:lnTo>
                  <a:lnTo>
                    <a:pt x="4080" y="2225"/>
                  </a:lnTo>
                  <a:cubicBezTo>
                    <a:pt x="4080" y="2337"/>
                    <a:pt x="3988" y="2428"/>
                    <a:pt x="3876" y="2428"/>
                  </a:cubicBezTo>
                </a:path>
              </a:pathLst>
            </a:custGeom>
            <a:solidFill>
              <a:schemeClr val="bg1"/>
            </a:solidFill>
            <a:ln>
              <a:solidFill>
                <a:srgbClr val="3B43FB"/>
              </a:solidFill>
            </a:ln>
            <a:effectLst/>
          </p:spPr>
          <p:txBody>
            <a:bodyPr wrap="none" anchor="ctr"/>
            <a:lstStyle/>
            <a:p>
              <a:endParaRPr lang="es-MX" sz="3265">
                <a:solidFill>
                  <a:schemeClr val="accent6">
                    <a:lumMod val="40000"/>
                    <a:lumOff val="60000"/>
                  </a:schemeClr>
                </a:solidFill>
                <a:latin typeface="DM Sans" pitchFamily="2" charset="77"/>
              </a:endParaRPr>
            </a:p>
          </p:txBody>
        </p:sp>
        <p:sp>
          <p:nvSpPr>
            <p:cNvPr id="1368" name="TextBox 46">
              <a:extLst>
                <a:ext uri="{FF2B5EF4-FFF2-40B4-BE49-F238E27FC236}">
                  <a16:creationId xmlns:a16="http://schemas.microsoft.com/office/drawing/2014/main" id="{A81EBAD7-F83D-C031-7F60-7A2E197EDBC6}"/>
                </a:ext>
              </a:extLst>
            </p:cNvPr>
            <p:cNvSpPr txBox="1"/>
            <p:nvPr/>
          </p:nvSpPr>
          <p:spPr>
            <a:xfrm>
              <a:off x="3259310" y="1004575"/>
              <a:ext cx="1395413" cy="400110"/>
            </a:xfrm>
            <a:prstGeom prst="rect">
              <a:avLst/>
            </a:prstGeom>
            <a:solidFill>
              <a:schemeClr val="bg1"/>
            </a:solidFill>
          </p:spPr>
          <p:txBody>
            <a:bodyPr wrap="square" rtlCol="0" anchor="t">
              <a:spAutoFit/>
            </a:bodyPr>
            <a:lstStyle/>
            <a:p>
              <a:pPr algn="ctr">
                <a:lnSpc>
                  <a:spcPts val="1200"/>
                </a:lnSpc>
              </a:pPr>
              <a:r>
                <a:rPr lang="en-US" sz="1000" b="1" spc="-15">
                  <a:solidFill>
                    <a:srgbClr val="3B43FB"/>
                  </a:solidFill>
                  <a:latin typeface="Open Sans" panose="020B0606030504020204" pitchFamily="34" charset="0"/>
                  <a:ea typeface="Open Sans" panose="020B0606030504020204" pitchFamily="34" charset="0"/>
                  <a:cs typeface="Open Sans" panose="020B0606030504020204" pitchFamily="34" charset="0"/>
                </a:rPr>
                <a:t>Escaped</a:t>
              </a:r>
            </a:p>
            <a:p>
              <a:pPr algn="ctr">
                <a:lnSpc>
                  <a:spcPts val="1200"/>
                </a:lnSpc>
              </a:pPr>
              <a:r>
                <a:rPr lang="en-US" sz="1000" b="1" spc="-15">
                  <a:solidFill>
                    <a:srgbClr val="3B43FB"/>
                  </a:solidFill>
                  <a:latin typeface="Open Sans" panose="020B0606030504020204" pitchFamily="34" charset="0"/>
                  <a:ea typeface="Open Sans" panose="020B0606030504020204" pitchFamily="34" charset="0"/>
                  <a:cs typeface="Open Sans" panose="020B0606030504020204" pitchFamily="34" charset="0"/>
                </a:rPr>
                <a:t>Defects </a:t>
              </a:r>
            </a:p>
          </p:txBody>
        </p:sp>
        <p:sp>
          <p:nvSpPr>
            <p:cNvPr id="1369" name="TextBox 45">
              <a:extLst>
                <a:ext uri="{FF2B5EF4-FFF2-40B4-BE49-F238E27FC236}">
                  <a16:creationId xmlns:a16="http://schemas.microsoft.com/office/drawing/2014/main" id="{AEC344AE-311C-2DFF-C434-8E7761649EE2}"/>
                </a:ext>
              </a:extLst>
            </p:cNvPr>
            <p:cNvSpPr txBox="1"/>
            <p:nvPr/>
          </p:nvSpPr>
          <p:spPr>
            <a:xfrm>
              <a:off x="3630071" y="1365015"/>
              <a:ext cx="648254" cy="337721"/>
            </a:xfrm>
            <a:prstGeom prst="rect">
              <a:avLst/>
            </a:prstGeom>
            <a:solidFill>
              <a:schemeClr val="bg1"/>
            </a:solidFill>
          </p:spPr>
          <p:txBody>
            <a:bodyPr wrap="none" rtlCol="0" anchor="b">
              <a:spAutoFit/>
            </a:bodyPr>
            <a:lstStyle/>
            <a:p>
              <a:pPr algn="ctr">
                <a:lnSpc>
                  <a:spcPts val="2000"/>
                </a:lnSpc>
              </a:pPr>
              <a:r>
                <a:rPr lang="es-MX" sz="1600" spc="-15">
                  <a:solidFill>
                    <a:srgbClr val="3B43FB"/>
                  </a:solidFill>
                  <a:latin typeface="Open Sans Bold" panose="020B0806030504020204" pitchFamily="34" charset="0"/>
                  <a:ea typeface="Open Sans Bold" panose="020B0806030504020204" pitchFamily="34" charset="0"/>
                  <a:cs typeface="Open Sans Bold" panose="020B0806030504020204" pitchFamily="34" charset="0"/>
                </a:rPr>
                <a:t>&lt; 3%</a:t>
              </a:r>
            </a:p>
          </p:txBody>
        </p:sp>
      </p:grpSp>
      <p:grpSp>
        <p:nvGrpSpPr>
          <p:cNvPr id="7" name="Grupo 6">
            <a:extLst>
              <a:ext uri="{FF2B5EF4-FFF2-40B4-BE49-F238E27FC236}">
                <a16:creationId xmlns:a16="http://schemas.microsoft.com/office/drawing/2014/main" id="{AD50CCB3-E244-3C65-7609-2FD92347445B}"/>
              </a:ext>
            </a:extLst>
          </p:cNvPr>
          <p:cNvGrpSpPr/>
          <p:nvPr/>
        </p:nvGrpSpPr>
        <p:grpSpPr>
          <a:xfrm>
            <a:off x="4870109" y="677274"/>
            <a:ext cx="1460152" cy="737769"/>
            <a:chOff x="5012363" y="983707"/>
            <a:chExt cx="1460152" cy="737769"/>
          </a:xfrm>
        </p:grpSpPr>
        <p:sp>
          <p:nvSpPr>
            <p:cNvPr id="1371" name="Freeform 45">
              <a:extLst>
                <a:ext uri="{FF2B5EF4-FFF2-40B4-BE49-F238E27FC236}">
                  <a16:creationId xmlns:a16="http://schemas.microsoft.com/office/drawing/2014/main" id="{F4F4138C-5117-C0F5-1DDF-4CFA9D620ED1}"/>
                </a:ext>
              </a:extLst>
            </p:cNvPr>
            <p:cNvSpPr>
              <a:spLocks noChangeArrowheads="1"/>
            </p:cNvSpPr>
            <p:nvPr/>
          </p:nvSpPr>
          <p:spPr bwMode="auto">
            <a:xfrm>
              <a:off x="5012363" y="983707"/>
              <a:ext cx="1460152" cy="737769"/>
            </a:xfrm>
            <a:custGeom>
              <a:avLst/>
              <a:gdLst>
                <a:gd name="T0" fmla="*/ 3876 w 4081"/>
                <a:gd name="T1" fmla="*/ 2428 h 2429"/>
                <a:gd name="T2" fmla="*/ 204 w 4081"/>
                <a:gd name="T3" fmla="*/ 2428 h 2429"/>
                <a:gd name="T4" fmla="*/ 204 w 4081"/>
                <a:gd name="T5" fmla="*/ 2428 h 2429"/>
                <a:gd name="T6" fmla="*/ 0 w 4081"/>
                <a:gd name="T7" fmla="*/ 2225 h 2429"/>
                <a:gd name="T8" fmla="*/ 0 w 4081"/>
                <a:gd name="T9" fmla="*/ 204 h 2429"/>
                <a:gd name="T10" fmla="*/ 0 w 4081"/>
                <a:gd name="T11" fmla="*/ 204 h 2429"/>
                <a:gd name="T12" fmla="*/ 204 w 4081"/>
                <a:gd name="T13" fmla="*/ 0 h 2429"/>
                <a:gd name="T14" fmla="*/ 3876 w 4081"/>
                <a:gd name="T15" fmla="*/ 0 h 2429"/>
                <a:gd name="T16" fmla="*/ 3876 w 4081"/>
                <a:gd name="T17" fmla="*/ 0 h 2429"/>
                <a:gd name="T18" fmla="*/ 4080 w 4081"/>
                <a:gd name="T19" fmla="*/ 204 h 2429"/>
                <a:gd name="T20" fmla="*/ 4080 w 4081"/>
                <a:gd name="T21" fmla="*/ 2225 h 2429"/>
                <a:gd name="T22" fmla="*/ 4080 w 4081"/>
                <a:gd name="T23" fmla="*/ 2225 h 2429"/>
                <a:gd name="T24" fmla="*/ 3876 w 4081"/>
                <a:gd name="T25" fmla="*/ 2428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81" h="2429">
                  <a:moveTo>
                    <a:pt x="3876" y="2428"/>
                  </a:moveTo>
                  <a:lnTo>
                    <a:pt x="204" y="2428"/>
                  </a:lnTo>
                  <a:lnTo>
                    <a:pt x="204" y="2428"/>
                  </a:lnTo>
                  <a:cubicBezTo>
                    <a:pt x="92" y="2428"/>
                    <a:pt x="0" y="2337"/>
                    <a:pt x="0" y="2225"/>
                  </a:cubicBezTo>
                  <a:lnTo>
                    <a:pt x="0" y="204"/>
                  </a:lnTo>
                  <a:lnTo>
                    <a:pt x="0" y="204"/>
                  </a:lnTo>
                  <a:cubicBezTo>
                    <a:pt x="0" y="91"/>
                    <a:pt x="92" y="0"/>
                    <a:pt x="204" y="0"/>
                  </a:cubicBezTo>
                  <a:lnTo>
                    <a:pt x="3876" y="0"/>
                  </a:lnTo>
                  <a:lnTo>
                    <a:pt x="3876" y="0"/>
                  </a:lnTo>
                  <a:cubicBezTo>
                    <a:pt x="3988" y="0"/>
                    <a:pt x="4080" y="91"/>
                    <a:pt x="4080" y="204"/>
                  </a:cubicBezTo>
                  <a:lnTo>
                    <a:pt x="4080" y="2225"/>
                  </a:lnTo>
                  <a:lnTo>
                    <a:pt x="4080" y="2225"/>
                  </a:lnTo>
                  <a:cubicBezTo>
                    <a:pt x="4080" y="2337"/>
                    <a:pt x="3988" y="2428"/>
                    <a:pt x="3876" y="2428"/>
                  </a:cubicBezTo>
                </a:path>
              </a:pathLst>
            </a:custGeom>
            <a:solidFill>
              <a:schemeClr val="bg1"/>
            </a:solidFill>
            <a:ln>
              <a:solidFill>
                <a:srgbClr val="3B43FB"/>
              </a:solidFill>
            </a:ln>
            <a:effectLst/>
          </p:spPr>
          <p:txBody>
            <a:bodyPr wrap="none" anchor="ctr"/>
            <a:lstStyle/>
            <a:p>
              <a:endParaRPr lang="es-MX" sz="3265">
                <a:latin typeface="DM Sans" pitchFamily="2" charset="77"/>
              </a:endParaRPr>
            </a:p>
          </p:txBody>
        </p:sp>
        <p:sp>
          <p:nvSpPr>
            <p:cNvPr id="1372" name="TextBox 46">
              <a:extLst>
                <a:ext uri="{FF2B5EF4-FFF2-40B4-BE49-F238E27FC236}">
                  <a16:creationId xmlns:a16="http://schemas.microsoft.com/office/drawing/2014/main" id="{28836612-D83B-FFD1-AD4F-9533188F01CE}"/>
                </a:ext>
              </a:extLst>
            </p:cNvPr>
            <p:cNvSpPr txBox="1"/>
            <p:nvPr/>
          </p:nvSpPr>
          <p:spPr>
            <a:xfrm>
              <a:off x="5012363" y="1004575"/>
              <a:ext cx="1460152" cy="400110"/>
            </a:xfrm>
            <a:prstGeom prst="rect">
              <a:avLst/>
            </a:prstGeom>
            <a:noFill/>
            <a:ln>
              <a:noFill/>
            </a:ln>
          </p:spPr>
          <p:txBody>
            <a:bodyPr wrap="square" rtlCol="0" anchor="t">
              <a:spAutoFit/>
            </a:bodyPr>
            <a:lstStyle/>
            <a:p>
              <a:pPr algn="ctr">
                <a:lnSpc>
                  <a:spcPts val="1200"/>
                </a:lnSpc>
              </a:pPr>
              <a:r>
                <a:rPr lang="en-US" sz="1000" b="1" spc="-15">
                  <a:solidFill>
                    <a:srgbClr val="3B43FB"/>
                  </a:solidFill>
                  <a:latin typeface="Open Sans" panose="020B0606030504020204" pitchFamily="34" charset="0"/>
                  <a:ea typeface="Open Sans" panose="020B0606030504020204" pitchFamily="34" charset="0"/>
                  <a:cs typeface="Open Sans" panose="020B0606030504020204" pitchFamily="34" charset="0"/>
                </a:rPr>
                <a:t>Escaped </a:t>
              </a:r>
            </a:p>
            <a:p>
              <a:pPr algn="ctr">
                <a:lnSpc>
                  <a:spcPts val="1200"/>
                </a:lnSpc>
              </a:pPr>
              <a:r>
                <a:rPr lang="en-US" sz="1000" b="1" spc="-15">
                  <a:solidFill>
                    <a:srgbClr val="3B43FB"/>
                  </a:solidFill>
                  <a:latin typeface="Open Sans" panose="020B0606030504020204" pitchFamily="34" charset="0"/>
                  <a:ea typeface="Open Sans" panose="020B0606030504020204" pitchFamily="34" charset="0"/>
                  <a:cs typeface="Open Sans" panose="020B0606030504020204" pitchFamily="34" charset="0"/>
                </a:rPr>
                <a:t>Critical Defects</a:t>
              </a:r>
            </a:p>
          </p:txBody>
        </p:sp>
        <p:sp>
          <p:nvSpPr>
            <p:cNvPr id="1373" name="TextBox 45">
              <a:extLst>
                <a:ext uri="{FF2B5EF4-FFF2-40B4-BE49-F238E27FC236}">
                  <a16:creationId xmlns:a16="http://schemas.microsoft.com/office/drawing/2014/main" id="{FB96DBE8-673F-8F6E-743C-96C395E22294}"/>
                </a:ext>
              </a:extLst>
            </p:cNvPr>
            <p:cNvSpPr txBox="1"/>
            <p:nvPr/>
          </p:nvSpPr>
          <p:spPr>
            <a:xfrm>
              <a:off x="5332071" y="1365015"/>
              <a:ext cx="820739" cy="337721"/>
            </a:xfrm>
            <a:prstGeom prst="rect">
              <a:avLst/>
            </a:prstGeom>
            <a:noFill/>
          </p:spPr>
          <p:txBody>
            <a:bodyPr wrap="none" rtlCol="0" anchor="b">
              <a:spAutoFit/>
            </a:bodyPr>
            <a:lstStyle/>
            <a:p>
              <a:pPr algn="ctr">
                <a:lnSpc>
                  <a:spcPts val="2000"/>
                </a:lnSpc>
              </a:pPr>
              <a:r>
                <a:rPr lang="es-MX" sz="1600" spc="-15">
                  <a:solidFill>
                    <a:srgbClr val="3B43FB"/>
                  </a:solidFill>
                  <a:latin typeface="Open Sans Bold" panose="020B0806030504020204" pitchFamily="34" charset="0"/>
                  <a:ea typeface="Open Sans Bold" panose="020B0806030504020204" pitchFamily="34" charset="0"/>
                  <a:cs typeface="Open Sans Bold" panose="020B0806030504020204" pitchFamily="34" charset="0"/>
                </a:rPr>
                <a:t>&lt; 0.2%</a:t>
              </a:r>
            </a:p>
          </p:txBody>
        </p:sp>
      </p:grpSp>
      <p:grpSp>
        <p:nvGrpSpPr>
          <p:cNvPr id="8" name="Grupo 7">
            <a:extLst>
              <a:ext uri="{FF2B5EF4-FFF2-40B4-BE49-F238E27FC236}">
                <a16:creationId xmlns:a16="http://schemas.microsoft.com/office/drawing/2014/main" id="{7A4A42A8-24E3-146D-AAA0-15538238B60C}"/>
              </a:ext>
            </a:extLst>
          </p:cNvPr>
          <p:cNvGrpSpPr/>
          <p:nvPr/>
        </p:nvGrpSpPr>
        <p:grpSpPr>
          <a:xfrm>
            <a:off x="8223204" y="677274"/>
            <a:ext cx="1460152" cy="737769"/>
            <a:chOff x="8365458" y="983707"/>
            <a:chExt cx="1460152" cy="737769"/>
          </a:xfrm>
        </p:grpSpPr>
        <p:sp>
          <p:nvSpPr>
            <p:cNvPr id="1359" name="Freeform 45">
              <a:extLst>
                <a:ext uri="{FF2B5EF4-FFF2-40B4-BE49-F238E27FC236}">
                  <a16:creationId xmlns:a16="http://schemas.microsoft.com/office/drawing/2014/main" id="{BBA43BEA-BE3F-67B3-86F1-1CE390789693}"/>
                </a:ext>
              </a:extLst>
            </p:cNvPr>
            <p:cNvSpPr>
              <a:spLocks noChangeArrowheads="1"/>
            </p:cNvSpPr>
            <p:nvPr/>
          </p:nvSpPr>
          <p:spPr bwMode="auto">
            <a:xfrm>
              <a:off x="8365458" y="983707"/>
              <a:ext cx="1460152" cy="737769"/>
            </a:xfrm>
            <a:custGeom>
              <a:avLst/>
              <a:gdLst>
                <a:gd name="T0" fmla="*/ 3876 w 4081"/>
                <a:gd name="T1" fmla="*/ 2428 h 2429"/>
                <a:gd name="T2" fmla="*/ 204 w 4081"/>
                <a:gd name="T3" fmla="*/ 2428 h 2429"/>
                <a:gd name="T4" fmla="*/ 204 w 4081"/>
                <a:gd name="T5" fmla="*/ 2428 h 2429"/>
                <a:gd name="T6" fmla="*/ 0 w 4081"/>
                <a:gd name="T7" fmla="*/ 2225 h 2429"/>
                <a:gd name="T8" fmla="*/ 0 w 4081"/>
                <a:gd name="T9" fmla="*/ 204 h 2429"/>
                <a:gd name="T10" fmla="*/ 0 w 4081"/>
                <a:gd name="T11" fmla="*/ 204 h 2429"/>
                <a:gd name="T12" fmla="*/ 204 w 4081"/>
                <a:gd name="T13" fmla="*/ 0 h 2429"/>
                <a:gd name="T14" fmla="*/ 3876 w 4081"/>
                <a:gd name="T15" fmla="*/ 0 h 2429"/>
                <a:gd name="T16" fmla="*/ 3876 w 4081"/>
                <a:gd name="T17" fmla="*/ 0 h 2429"/>
                <a:gd name="T18" fmla="*/ 4080 w 4081"/>
                <a:gd name="T19" fmla="*/ 204 h 2429"/>
                <a:gd name="T20" fmla="*/ 4080 w 4081"/>
                <a:gd name="T21" fmla="*/ 2225 h 2429"/>
                <a:gd name="T22" fmla="*/ 4080 w 4081"/>
                <a:gd name="T23" fmla="*/ 2225 h 2429"/>
                <a:gd name="T24" fmla="*/ 3876 w 4081"/>
                <a:gd name="T25" fmla="*/ 2428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81" h="2429">
                  <a:moveTo>
                    <a:pt x="3876" y="2428"/>
                  </a:moveTo>
                  <a:lnTo>
                    <a:pt x="204" y="2428"/>
                  </a:lnTo>
                  <a:lnTo>
                    <a:pt x="204" y="2428"/>
                  </a:lnTo>
                  <a:cubicBezTo>
                    <a:pt x="92" y="2428"/>
                    <a:pt x="0" y="2337"/>
                    <a:pt x="0" y="2225"/>
                  </a:cubicBezTo>
                  <a:lnTo>
                    <a:pt x="0" y="204"/>
                  </a:lnTo>
                  <a:lnTo>
                    <a:pt x="0" y="204"/>
                  </a:lnTo>
                  <a:cubicBezTo>
                    <a:pt x="0" y="91"/>
                    <a:pt x="92" y="0"/>
                    <a:pt x="204" y="0"/>
                  </a:cubicBezTo>
                  <a:lnTo>
                    <a:pt x="3876" y="0"/>
                  </a:lnTo>
                  <a:lnTo>
                    <a:pt x="3876" y="0"/>
                  </a:lnTo>
                  <a:cubicBezTo>
                    <a:pt x="3988" y="0"/>
                    <a:pt x="4080" y="91"/>
                    <a:pt x="4080" y="204"/>
                  </a:cubicBezTo>
                  <a:lnTo>
                    <a:pt x="4080" y="2225"/>
                  </a:lnTo>
                  <a:lnTo>
                    <a:pt x="4080" y="2225"/>
                  </a:lnTo>
                  <a:cubicBezTo>
                    <a:pt x="4080" y="2337"/>
                    <a:pt x="3988" y="2428"/>
                    <a:pt x="3876" y="2428"/>
                  </a:cubicBezTo>
                </a:path>
              </a:pathLst>
            </a:custGeom>
            <a:solidFill>
              <a:schemeClr val="bg1"/>
            </a:solidFill>
            <a:ln>
              <a:solidFill>
                <a:srgbClr val="F86F35"/>
              </a:solidFill>
            </a:ln>
            <a:effectLst/>
          </p:spPr>
          <p:txBody>
            <a:bodyPr wrap="none" anchor="ctr"/>
            <a:lstStyle/>
            <a:p>
              <a:endParaRPr lang="es-MX" sz="3265">
                <a:ln>
                  <a:solidFill>
                    <a:srgbClr val="F86F35"/>
                  </a:solidFill>
                </a:ln>
                <a:latin typeface="DM Sans" pitchFamily="2" charset="77"/>
              </a:endParaRPr>
            </a:p>
          </p:txBody>
        </p:sp>
        <p:sp>
          <p:nvSpPr>
            <p:cNvPr id="1360" name="TextBox 46">
              <a:extLst>
                <a:ext uri="{FF2B5EF4-FFF2-40B4-BE49-F238E27FC236}">
                  <a16:creationId xmlns:a16="http://schemas.microsoft.com/office/drawing/2014/main" id="{9337CE84-FE0B-B177-D401-92A1BBEF6AE9}"/>
                </a:ext>
              </a:extLst>
            </p:cNvPr>
            <p:cNvSpPr txBox="1"/>
            <p:nvPr/>
          </p:nvSpPr>
          <p:spPr>
            <a:xfrm>
              <a:off x="8365458" y="1004575"/>
              <a:ext cx="1460152" cy="400110"/>
            </a:xfrm>
            <a:prstGeom prst="rect">
              <a:avLst/>
            </a:prstGeom>
            <a:noFill/>
          </p:spPr>
          <p:txBody>
            <a:bodyPr wrap="square" rtlCol="0" anchor="t">
              <a:spAutoFit/>
            </a:bodyPr>
            <a:lstStyle/>
            <a:p>
              <a:pPr algn="ctr">
                <a:lnSpc>
                  <a:spcPts val="1200"/>
                </a:lnSpc>
              </a:pPr>
              <a:r>
                <a:rPr lang="en-US" sz="1000" b="1" spc="-15">
                  <a:solidFill>
                    <a:srgbClr val="F86F35"/>
                  </a:solidFill>
                  <a:latin typeface="Open Sans" panose="020B0606030504020204" pitchFamily="34" charset="0"/>
                  <a:ea typeface="Open Sans" panose="020B0606030504020204" pitchFamily="34" charset="0"/>
                  <a:cs typeface="Open Sans" panose="020B0606030504020204" pitchFamily="34" charset="0"/>
                </a:rPr>
                <a:t>Productivity</a:t>
              </a:r>
            </a:p>
            <a:p>
              <a:pPr algn="ctr">
                <a:lnSpc>
                  <a:spcPts val="1200"/>
                </a:lnSpc>
              </a:pPr>
              <a:r>
                <a:rPr lang="en-US" sz="1000" b="1" spc="-15">
                  <a:solidFill>
                    <a:srgbClr val="F86F35"/>
                  </a:solidFill>
                  <a:latin typeface="Open Sans" panose="020B0606030504020204" pitchFamily="34" charset="0"/>
                  <a:ea typeface="Open Sans" panose="020B0606030504020204" pitchFamily="34" charset="0"/>
                  <a:cs typeface="Open Sans" panose="020B0606030504020204" pitchFamily="34" charset="0"/>
                </a:rPr>
                <a:t>Increase*</a:t>
              </a:r>
            </a:p>
          </p:txBody>
        </p:sp>
        <p:sp>
          <p:nvSpPr>
            <p:cNvPr id="1361" name="TextBox 45">
              <a:extLst>
                <a:ext uri="{FF2B5EF4-FFF2-40B4-BE49-F238E27FC236}">
                  <a16:creationId xmlns:a16="http://schemas.microsoft.com/office/drawing/2014/main" id="{C4E0A768-6DC1-B5A2-B894-7E5220981FE3}"/>
                </a:ext>
              </a:extLst>
            </p:cNvPr>
            <p:cNvSpPr txBox="1"/>
            <p:nvPr/>
          </p:nvSpPr>
          <p:spPr>
            <a:xfrm>
              <a:off x="8507713" y="1365015"/>
              <a:ext cx="1175643" cy="337721"/>
            </a:xfrm>
            <a:prstGeom prst="rect">
              <a:avLst/>
            </a:prstGeom>
            <a:noFill/>
          </p:spPr>
          <p:txBody>
            <a:bodyPr wrap="none" rtlCol="0" anchor="b">
              <a:spAutoFit/>
            </a:bodyPr>
            <a:lstStyle/>
            <a:p>
              <a:pPr algn="ctr">
                <a:lnSpc>
                  <a:spcPts val="2000"/>
                </a:lnSpc>
              </a:pPr>
              <a:r>
                <a:rPr lang="es-MX" sz="1600" spc="-15">
                  <a:solidFill>
                    <a:srgbClr val="F86F35"/>
                  </a:solidFill>
                  <a:latin typeface="Open Sans Bold" panose="020B0806030504020204" pitchFamily="34" charset="0"/>
                  <a:ea typeface="Open Sans Bold" panose="020B0806030504020204" pitchFamily="34" charset="0"/>
                  <a:cs typeface="Open Sans Bold" panose="020B0806030504020204" pitchFamily="34" charset="0"/>
                </a:rPr>
                <a:t>20% - 40%</a:t>
              </a:r>
            </a:p>
          </p:txBody>
        </p:sp>
      </p:grpSp>
      <p:grpSp>
        <p:nvGrpSpPr>
          <p:cNvPr id="1376" name="Group 1375">
            <a:extLst>
              <a:ext uri="{FF2B5EF4-FFF2-40B4-BE49-F238E27FC236}">
                <a16:creationId xmlns:a16="http://schemas.microsoft.com/office/drawing/2014/main" id="{46016381-A009-0C78-C934-AC230FBA016F}"/>
              </a:ext>
            </a:extLst>
          </p:cNvPr>
          <p:cNvGrpSpPr/>
          <p:nvPr/>
        </p:nvGrpSpPr>
        <p:grpSpPr>
          <a:xfrm>
            <a:off x="7366917" y="913614"/>
            <a:ext cx="659794" cy="265088"/>
            <a:chOff x="1139602" y="1220047"/>
            <a:chExt cx="659794" cy="265088"/>
          </a:xfrm>
        </p:grpSpPr>
        <p:sp>
          <p:nvSpPr>
            <p:cNvPr id="1377" name="Elipse 4">
              <a:extLst>
                <a:ext uri="{FF2B5EF4-FFF2-40B4-BE49-F238E27FC236}">
                  <a16:creationId xmlns:a16="http://schemas.microsoft.com/office/drawing/2014/main" id="{7B4208F8-2C1C-731B-B2B6-ED8E7BF8CE6E}"/>
                </a:ext>
              </a:extLst>
            </p:cNvPr>
            <p:cNvSpPr/>
            <p:nvPr/>
          </p:nvSpPr>
          <p:spPr>
            <a:xfrm>
              <a:off x="1139602" y="1220047"/>
              <a:ext cx="265088" cy="265088"/>
            </a:xfrm>
            <a:prstGeom prst="ellipse">
              <a:avLst/>
            </a:prstGeom>
            <a:solidFill>
              <a:srgbClr val="0111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MX"/>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MX" sz="1000" b="1">
                  <a:solidFill>
                    <a:schemeClr val="bg1"/>
                  </a:solidFill>
                  <a:latin typeface="+mj-lt"/>
                  <a:ea typeface="Open Sans" panose="020B0606030504020204" pitchFamily="34" charset="0"/>
                  <a:cs typeface="Calibri" panose="020F0502020204030204" pitchFamily="34" charset="0"/>
                </a:rPr>
                <a:t>B</a:t>
              </a:r>
            </a:p>
          </p:txBody>
        </p:sp>
        <p:pic>
          <p:nvPicPr>
            <p:cNvPr id="1378" name="Graphic 1377">
              <a:extLst>
                <a:ext uri="{FF2B5EF4-FFF2-40B4-BE49-F238E27FC236}">
                  <a16:creationId xmlns:a16="http://schemas.microsoft.com/office/drawing/2014/main" id="{7E4054A9-05BC-0537-5A3E-3029C33A78F1}"/>
                </a:ext>
              </a:extLst>
            </p:cNvPr>
            <p:cNvPicPr>
              <a:picLocks/>
            </p:cNvPicPr>
            <p:nvPr>
              <p:custDataLst>
                <p:tags r:id="rId2"/>
              </p:custDataLst>
            </p:nvPr>
          </p:nvPicPr>
          <p:blipFill>
            <a:blip r:embed="rId10">
              <a:extLst>
                <a:ext uri="{96DAC541-7B7A-43D3-8B79-37D633B846F1}">
                  <asvg:svgBlip xmlns:asvg="http://schemas.microsoft.com/office/drawing/2016/SVG/main" r:embed="rId11"/>
                </a:ext>
              </a:extLst>
            </a:blip>
            <a:stretch>
              <a:fillRect/>
            </a:stretch>
          </p:blipFill>
          <p:spPr>
            <a:xfrm>
              <a:off x="1546983" y="1220047"/>
              <a:ext cx="252413" cy="252413"/>
            </a:xfrm>
            <a:prstGeom prst="rect">
              <a:avLst/>
            </a:prstGeom>
          </p:spPr>
        </p:pic>
      </p:grpSp>
      <p:sp>
        <p:nvSpPr>
          <p:cNvPr id="63" name="Rectangle: Rounded Corners 62">
            <a:extLst>
              <a:ext uri="{FF2B5EF4-FFF2-40B4-BE49-F238E27FC236}">
                <a16:creationId xmlns:a16="http://schemas.microsoft.com/office/drawing/2014/main" id="{E666FEED-A71C-6BF1-456D-E30B86FF9920}"/>
              </a:ext>
            </a:extLst>
          </p:cNvPr>
          <p:cNvSpPr/>
          <p:nvPr/>
        </p:nvSpPr>
        <p:spPr>
          <a:xfrm>
            <a:off x="2224136" y="5863695"/>
            <a:ext cx="7459219" cy="530249"/>
          </a:xfrm>
          <a:prstGeom prst="roundRect">
            <a:avLst/>
          </a:prstGeom>
          <a:solidFill>
            <a:srgbClr val="0111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50">
                <a:latin typeface="Open Sans" panose="020B0606030504020204" pitchFamily="34" charset="0"/>
                <a:ea typeface="Open Sans" panose="020B0606030504020204" pitchFamily="34" charset="0"/>
                <a:cs typeface="Open Sans" panose="020B0606030504020204" pitchFamily="34" charset="0"/>
              </a:rPr>
              <a:t>Dev-Sec-Ops: CI/CD for SDLC </a:t>
            </a:r>
          </a:p>
          <a:p>
            <a:pPr algn="ctr"/>
            <a:r>
              <a:rPr lang="en-US" sz="1150">
                <a:latin typeface="Open Sans" panose="020B0606030504020204" pitchFamily="34" charset="0"/>
                <a:ea typeface="Open Sans" panose="020B0606030504020204" pitchFamily="34" charset="0"/>
                <a:cs typeface="Open Sans" panose="020B0606030504020204" pitchFamily="34" charset="0"/>
              </a:rPr>
              <a:t>(Includes Data and Environment Management)</a:t>
            </a:r>
          </a:p>
        </p:txBody>
      </p:sp>
      <p:sp>
        <p:nvSpPr>
          <p:cNvPr id="1351" name="Rectangle: Rounded Corners 1350">
            <a:extLst>
              <a:ext uri="{FF2B5EF4-FFF2-40B4-BE49-F238E27FC236}">
                <a16:creationId xmlns:a16="http://schemas.microsoft.com/office/drawing/2014/main" id="{39752A2D-04A5-05DC-87F4-F74D5AF5C5B9}"/>
              </a:ext>
            </a:extLst>
          </p:cNvPr>
          <p:cNvSpPr/>
          <p:nvPr/>
        </p:nvSpPr>
        <p:spPr>
          <a:xfrm>
            <a:off x="2224136" y="6448492"/>
            <a:ext cx="7459220" cy="324383"/>
          </a:xfrm>
          <a:prstGeom prst="roundRect">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sz="1200">
                <a:latin typeface="Open Sans" panose="020B0606030504020204" pitchFamily="34" charset="0"/>
                <a:ea typeface="Open Sans" panose="020B0606030504020204" pitchFamily="34" charset="0"/>
                <a:cs typeface="Open Sans" panose="020B0606030504020204" pitchFamily="34" charset="0"/>
              </a:rPr>
              <a:t>AGILE KPI MONITORING AND EXECUTION</a:t>
            </a:r>
            <a:endParaRPr lang="en-US" sz="1200">
              <a:latin typeface="Open Sans" panose="020B0606030504020204" pitchFamily="34" charset="0"/>
              <a:ea typeface="Open Sans" panose="020B0606030504020204" pitchFamily="34" charset="0"/>
              <a:cs typeface="Open Sans" panose="020B0606030504020204" pitchFamily="34" charset="0"/>
            </a:endParaRPr>
          </a:p>
        </p:txBody>
      </p:sp>
      <p:sp>
        <p:nvSpPr>
          <p:cNvPr id="11" name="CuadroTexto 10">
            <a:extLst>
              <a:ext uri="{FF2B5EF4-FFF2-40B4-BE49-F238E27FC236}">
                <a16:creationId xmlns:a16="http://schemas.microsoft.com/office/drawing/2014/main" id="{50EB200D-B56F-BCD3-DC4B-EF3D164CA970}"/>
              </a:ext>
            </a:extLst>
          </p:cNvPr>
          <p:cNvSpPr txBox="1"/>
          <p:nvPr/>
        </p:nvSpPr>
        <p:spPr>
          <a:xfrm>
            <a:off x="3945097" y="3451160"/>
            <a:ext cx="910056" cy="400110"/>
          </a:xfrm>
          <a:prstGeom prst="rect">
            <a:avLst/>
          </a:prstGeom>
          <a:noFill/>
        </p:spPr>
        <p:txBody>
          <a:bodyPr wrap="none" rtlCol="0">
            <a:spAutoFit/>
          </a:bodyPr>
          <a:lstStyle/>
          <a:p>
            <a:pPr algn="ctr"/>
            <a:r>
              <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rPr>
              <a:t> </a:t>
            </a:r>
            <a:r>
              <a:rPr lang="es-MX" sz="1000" b="1" err="1">
                <a:solidFill>
                  <a:srgbClr val="F86F35"/>
                </a:solidFill>
                <a:latin typeface="Open Sans" panose="020B0606030504020204" pitchFamily="34" charset="0"/>
                <a:ea typeface="Open Sans" panose="020B0606030504020204" pitchFamily="34" charset="0"/>
                <a:cs typeface="Open Sans" panose="020B0606030504020204" pitchFamily="34" charset="0"/>
              </a:rPr>
              <a:t>User</a:t>
            </a:r>
            <a:r>
              <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rPr>
              <a:t> </a:t>
            </a:r>
            <a:r>
              <a:rPr lang="es-MX" sz="1000" b="1" err="1">
                <a:solidFill>
                  <a:srgbClr val="F86F35"/>
                </a:solidFill>
                <a:latin typeface="Open Sans" panose="020B0606030504020204" pitchFamily="34" charset="0"/>
                <a:ea typeface="Open Sans" panose="020B0606030504020204" pitchFamily="34" charset="0"/>
                <a:cs typeface="Open Sans" panose="020B0606030504020204" pitchFamily="34" charset="0"/>
              </a:rPr>
              <a:t>Story</a:t>
            </a:r>
            <a:endPar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endParaRPr>
          </a:p>
          <a:p>
            <a:pPr algn="ctr"/>
            <a:r>
              <a:rPr lang="es-MX" sz="1000" b="1" err="1">
                <a:solidFill>
                  <a:srgbClr val="F86F35"/>
                </a:solidFill>
                <a:latin typeface="Open Sans" panose="020B0606030504020204" pitchFamily="34" charset="0"/>
                <a:ea typeface="Open Sans" panose="020B0606030504020204" pitchFamily="34" charset="0"/>
                <a:cs typeface="Open Sans" panose="020B0606030504020204" pitchFamily="34" charset="0"/>
              </a:rPr>
              <a:t>Analysis</a:t>
            </a:r>
            <a:endPar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CuadroTexto 13">
            <a:extLst>
              <a:ext uri="{FF2B5EF4-FFF2-40B4-BE49-F238E27FC236}">
                <a16:creationId xmlns:a16="http://schemas.microsoft.com/office/drawing/2014/main" id="{5FC69830-6EB1-3DD6-C609-C5D5CE7BBD3A}"/>
              </a:ext>
            </a:extLst>
          </p:cNvPr>
          <p:cNvSpPr txBox="1"/>
          <p:nvPr/>
        </p:nvSpPr>
        <p:spPr>
          <a:xfrm>
            <a:off x="4186385" y="2458049"/>
            <a:ext cx="750526" cy="400110"/>
          </a:xfrm>
          <a:prstGeom prst="rect">
            <a:avLst/>
          </a:prstGeom>
          <a:noFill/>
        </p:spPr>
        <p:txBody>
          <a:bodyPr wrap="none" rtlCol="0">
            <a:spAutoFit/>
          </a:bodyPr>
          <a:lstStyle/>
          <a:p>
            <a:pPr algn="ctr"/>
            <a:r>
              <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rPr>
              <a:t>Plan &amp;</a:t>
            </a:r>
          </a:p>
          <a:p>
            <a:pPr algn="ctr"/>
            <a:r>
              <a:rPr lang="es-MX" sz="1000" b="1" err="1">
                <a:solidFill>
                  <a:srgbClr val="F86F35"/>
                </a:solidFill>
                <a:latin typeface="Open Sans" panose="020B0606030504020204" pitchFamily="34" charset="0"/>
                <a:ea typeface="Open Sans" panose="020B0606030504020204" pitchFamily="34" charset="0"/>
                <a:cs typeface="Open Sans" panose="020B0606030504020204" pitchFamily="34" charset="0"/>
              </a:rPr>
              <a:t>Estimate</a:t>
            </a:r>
            <a:endPar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CuadroTexto 14">
            <a:extLst>
              <a:ext uri="{FF2B5EF4-FFF2-40B4-BE49-F238E27FC236}">
                <a16:creationId xmlns:a16="http://schemas.microsoft.com/office/drawing/2014/main" id="{F198BF90-5585-F5B9-A8B3-E5BD7D193DE7}"/>
              </a:ext>
            </a:extLst>
          </p:cNvPr>
          <p:cNvSpPr txBox="1"/>
          <p:nvPr/>
        </p:nvSpPr>
        <p:spPr>
          <a:xfrm>
            <a:off x="5273233" y="1898522"/>
            <a:ext cx="1715016" cy="276999"/>
          </a:xfrm>
          <a:prstGeom prst="rect">
            <a:avLst/>
          </a:prstGeom>
          <a:noFill/>
        </p:spPr>
        <p:txBody>
          <a:bodyPr wrap="square" rtlCol="0">
            <a:spAutoFit/>
          </a:bodyPr>
          <a:lstStyle/>
          <a:p>
            <a:pPr algn="ctr"/>
            <a:r>
              <a:rPr lang="en-US" sz="1200" b="1">
                <a:solidFill>
                  <a:srgbClr val="F86F35"/>
                </a:solidFill>
                <a:latin typeface="Open Sans" panose="020B0606030504020204" pitchFamily="34" charset="0"/>
                <a:ea typeface="Open Sans" panose="020B0606030504020204" pitchFamily="34" charset="0"/>
                <a:cs typeface="Open Sans" panose="020B0606030504020204" pitchFamily="34" charset="0"/>
              </a:rPr>
              <a:t>Stratis Deep Design</a:t>
            </a:r>
          </a:p>
        </p:txBody>
      </p:sp>
      <p:sp>
        <p:nvSpPr>
          <p:cNvPr id="19" name="CuadroTexto 18">
            <a:extLst>
              <a:ext uri="{FF2B5EF4-FFF2-40B4-BE49-F238E27FC236}">
                <a16:creationId xmlns:a16="http://schemas.microsoft.com/office/drawing/2014/main" id="{2109D166-C8C4-A9EB-FE87-79CF366EEB66}"/>
              </a:ext>
            </a:extLst>
          </p:cNvPr>
          <p:cNvSpPr txBox="1"/>
          <p:nvPr/>
        </p:nvSpPr>
        <p:spPr>
          <a:xfrm>
            <a:off x="7055154" y="2485602"/>
            <a:ext cx="856325" cy="400110"/>
          </a:xfrm>
          <a:prstGeom prst="rect">
            <a:avLst/>
          </a:prstGeom>
          <a:noFill/>
        </p:spPr>
        <p:txBody>
          <a:bodyPr wrap="none" rtlCol="0">
            <a:spAutoFit/>
          </a:bodyPr>
          <a:lstStyle/>
          <a:p>
            <a:r>
              <a:rPr lang="en-US" sz="1000" b="1">
                <a:solidFill>
                  <a:srgbClr val="F86F35"/>
                </a:solidFill>
                <a:latin typeface="Open Sans" panose="020B0606030504020204" pitchFamily="34" charset="0"/>
                <a:ea typeface="Open Sans" panose="020B0606030504020204" pitchFamily="34" charset="0"/>
                <a:cs typeface="Open Sans" panose="020B0606030504020204" pitchFamily="34" charset="0"/>
              </a:rPr>
              <a:t>Setup Test</a:t>
            </a:r>
          </a:p>
          <a:p>
            <a:r>
              <a:rPr lang="en-US" sz="1000" b="1">
                <a:solidFill>
                  <a:srgbClr val="F86F35"/>
                </a:solidFill>
                <a:latin typeface="Open Sans" panose="020B0606030504020204" pitchFamily="34" charset="0"/>
                <a:ea typeface="Open Sans" panose="020B0606030504020204" pitchFamily="34" charset="0"/>
                <a:cs typeface="Open Sans" panose="020B0606030504020204" pitchFamily="34" charset="0"/>
              </a:rPr>
              <a:t>Env.</a:t>
            </a:r>
          </a:p>
        </p:txBody>
      </p:sp>
      <p:sp>
        <p:nvSpPr>
          <p:cNvPr id="20" name="CuadroTexto 19">
            <a:extLst>
              <a:ext uri="{FF2B5EF4-FFF2-40B4-BE49-F238E27FC236}">
                <a16:creationId xmlns:a16="http://schemas.microsoft.com/office/drawing/2014/main" id="{791E4AF8-F559-35B7-F836-BEBB372BB2F6}"/>
              </a:ext>
            </a:extLst>
          </p:cNvPr>
          <p:cNvSpPr txBox="1"/>
          <p:nvPr/>
        </p:nvSpPr>
        <p:spPr>
          <a:xfrm>
            <a:off x="7080477" y="3501166"/>
            <a:ext cx="1119217" cy="246221"/>
          </a:xfrm>
          <a:prstGeom prst="rect">
            <a:avLst/>
          </a:prstGeom>
          <a:noFill/>
        </p:spPr>
        <p:txBody>
          <a:bodyPr wrap="square" rtlCol="0">
            <a:spAutoFit/>
          </a:bodyPr>
          <a:lstStyle/>
          <a:p>
            <a:pPr algn="ctr"/>
            <a:r>
              <a:rPr lang="en-US" sz="1000" b="1">
                <a:solidFill>
                  <a:srgbClr val="F86F35"/>
                </a:solidFill>
                <a:latin typeface="Open Sans" panose="020B0606030504020204" pitchFamily="34" charset="0"/>
                <a:ea typeface="Open Sans" panose="020B0606030504020204" pitchFamily="34" charset="0"/>
                <a:cs typeface="Open Sans" panose="020B0606030504020204" pitchFamily="34" charset="0"/>
              </a:rPr>
              <a:t>Test Execution</a:t>
            </a:r>
          </a:p>
        </p:txBody>
      </p:sp>
      <p:sp>
        <p:nvSpPr>
          <p:cNvPr id="21" name="CuadroTexto 20">
            <a:extLst>
              <a:ext uri="{FF2B5EF4-FFF2-40B4-BE49-F238E27FC236}">
                <a16:creationId xmlns:a16="http://schemas.microsoft.com/office/drawing/2014/main" id="{AF7BE03A-9883-FB45-FC81-A753579E5E21}"/>
              </a:ext>
            </a:extLst>
          </p:cNvPr>
          <p:cNvSpPr txBox="1"/>
          <p:nvPr/>
        </p:nvSpPr>
        <p:spPr>
          <a:xfrm>
            <a:off x="4411627" y="4079212"/>
            <a:ext cx="556564" cy="400110"/>
          </a:xfrm>
          <a:prstGeom prst="rect">
            <a:avLst/>
          </a:prstGeom>
          <a:noFill/>
        </p:spPr>
        <p:txBody>
          <a:bodyPr wrap="none" rtlCol="0">
            <a:spAutoFit/>
          </a:bodyPr>
          <a:lstStyle/>
          <a:p>
            <a:pPr algn="ctr"/>
            <a:r>
              <a:rPr lang="es-MX" sz="10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Sprint</a:t>
            </a:r>
          </a:p>
          <a:p>
            <a:pPr algn="ctr"/>
            <a:r>
              <a:rPr lang="es-MX" sz="1000" err="1">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Task</a:t>
            </a:r>
            <a:endParaRPr lang="es-MX" sz="10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2" name="CuadroTexto 21">
            <a:extLst>
              <a:ext uri="{FF2B5EF4-FFF2-40B4-BE49-F238E27FC236}">
                <a16:creationId xmlns:a16="http://schemas.microsoft.com/office/drawing/2014/main" id="{E1B2494B-4D84-5D9F-984B-80ACC7E75C83}"/>
              </a:ext>
            </a:extLst>
          </p:cNvPr>
          <p:cNvSpPr txBox="1"/>
          <p:nvPr/>
        </p:nvSpPr>
        <p:spPr>
          <a:xfrm>
            <a:off x="2355672" y="4079212"/>
            <a:ext cx="682648" cy="400110"/>
          </a:xfrm>
          <a:prstGeom prst="rect">
            <a:avLst/>
          </a:prstGeom>
          <a:noFill/>
        </p:spPr>
        <p:txBody>
          <a:bodyPr wrap="square" rtlCol="0">
            <a:spAutoFit/>
          </a:bodyPr>
          <a:lstStyle/>
          <a:p>
            <a:pPr algn="ctr"/>
            <a:r>
              <a:rPr lang="es-MX" sz="10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Sprint</a:t>
            </a:r>
          </a:p>
          <a:p>
            <a:pPr algn="ctr"/>
            <a:r>
              <a:rPr lang="es-MX" sz="10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Backlog</a:t>
            </a:r>
          </a:p>
        </p:txBody>
      </p:sp>
      <p:sp>
        <p:nvSpPr>
          <p:cNvPr id="25" name="Elipse 24">
            <a:extLst>
              <a:ext uri="{FF2B5EF4-FFF2-40B4-BE49-F238E27FC236}">
                <a16:creationId xmlns:a16="http://schemas.microsoft.com/office/drawing/2014/main" id="{C6527E4E-C68B-B17B-98F6-32D618CE8E51}"/>
              </a:ext>
            </a:extLst>
          </p:cNvPr>
          <p:cNvSpPr/>
          <p:nvPr/>
        </p:nvSpPr>
        <p:spPr>
          <a:xfrm>
            <a:off x="4931128" y="3474905"/>
            <a:ext cx="327121" cy="327121"/>
          </a:xfrm>
          <a:prstGeom prst="ellipse">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1</a:t>
            </a:r>
          </a:p>
        </p:txBody>
      </p:sp>
      <p:sp>
        <p:nvSpPr>
          <p:cNvPr id="27" name="Elipse 26">
            <a:extLst>
              <a:ext uri="{FF2B5EF4-FFF2-40B4-BE49-F238E27FC236}">
                <a16:creationId xmlns:a16="http://schemas.microsoft.com/office/drawing/2014/main" id="{F2DBBB54-C1F3-22B4-893F-BE2DAC60980A}"/>
              </a:ext>
            </a:extLst>
          </p:cNvPr>
          <p:cNvSpPr/>
          <p:nvPr/>
        </p:nvSpPr>
        <p:spPr>
          <a:xfrm>
            <a:off x="4992832" y="2691767"/>
            <a:ext cx="327121" cy="327121"/>
          </a:xfrm>
          <a:prstGeom prst="ellipse">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2</a:t>
            </a:r>
          </a:p>
        </p:txBody>
      </p:sp>
      <p:sp>
        <p:nvSpPr>
          <p:cNvPr id="29" name="Elipse 28">
            <a:extLst>
              <a:ext uri="{FF2B5EF4-FFF2-40B4-BE49-F238E27FC236}">
                <a16:creationId xmlns:a16="http://schemas.microsoft.com/office/drawing/2014/main" id="{3AC0A46D-1992-31BC-4048-E16447ABA2D8}"/>
              </a:ext>
            </a:extLst>
          </p:cNvPr>
          <p:cNvSpPr/>
          <p:nvPr/>
        </p:nvSpPr>
        <p:spPr>
          <a:xfrm>
            <a:off x="5823970" y="2205917"/>
            <a:ext cx="327121" cy="327121"/>
          </a:xfrm>
          <a:prstGeom prst="ellipse">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3</a:t>
            </a:r>
          </a:p>
        </p:txBody>
      </p:sp>
      <p:sp>
        <p:nvSpPr>
          <p:cNvPr id="31" name="Elipse 30">
            <a:extLst>
              <a:ext uri="{FF2B5EF4-FFF2-40B4-BE49-F238E27FC236}">
                <a16:creationId xmlns:a16="http://schemas.microsoft.com/office/drawing/2014/main" id="{33397E71-D8CE-AE79-0489-BF8746538B47}"/>
              </a:ext>
            </a:extLst>
          </p:cNvPr>
          <p:cNvSpPr/>
          <p:nvPr/>
        </p:nvSpPr>
        <p:spPr>
          <a:xfrm>
            <a:off x="6680179" y="2688138"/>
            <a:ext cx="327121" cy="327121"/>
          </a:xfrm>
          <a:prstGeom prst="ellipse">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4</a:t>
            </a:r>
          </a:p>
        </p:txBody>
      </p:sp>
      <p:sp>
        <p:nvSpPr>
          <p:cNvPr id="33" name="Elipse 32">
            <a:extLst>
              <a:ext uri="{FF2B5EF4-FFF2-40B4-BE49-F238E27FC236}">
                <a16:creationId xmlns:a16="http://schemas.microsoft.com/office/drawing/2014/main" id="{92BB4065-FC65-AB97-DC4D-79D5CCD1B1DC}"/>
              </a:ext>
            </a:extLst>
          </p:cNvPr>
          <p:cNvSpPr/>
          <p:nvPr/>
        </p:nvSpPr>
        <p:spPr>
          <a:xfrm>
            <a:off x="5182119" y="5020213"/>
            <a:ext cx="327121" cy="327121"/>
          </a:xfrm>
          <a:prstGeom prst="ellipse">
            <a:avLst/>
          </a:prstGeom>
          <a:solidFill>
            <a:srgbClr val="F86F35"/>
          </a:solidFill>
          <a:ln>
            <a:solidFill>
              <a:srgbClr val="F86F3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6</a:t>
            </a:r>
          </a:p>
        </p:txBody>
      </p:sp>
      <p:sp>
        <p:nvSpPr>
          <p:cNvPr id="35" name="Elipse 34">
            <a:extLst>
              <a:ext uri="{FF2B5EF4-FFF2-40B4-BE49-F238E27FC236}">
                <a16:creationId xmlns:a16="http://schemas.microsoft.com/office/drawing/2014/main" id="{31399A25-D1DF-D79E-9D3C-109DFB8754B5}"/>
              </a:ext>
            </a:extLst>
          </p:cNvPr>
          <p:cNvSpPr/>
          <p:nvPr/>
        </p:nvSpPr>
        <p:spPr>
          <a:xfrm>
            <a:off x="3381576" y="5020213"/>
            <a:ext cx="327121" cy="327121"/>
          </a:xfrm>
          <a:prstGeom prst="ellipse">
            <a:avLst/>
          </a:prstGeom>
          <a:solidFill>
            <a:srgbClr val="F86F35"/>
          </a:solidFill>
          <a:ln>
            <a:solidFill>
              <a:srgbClr val="F86F3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7</a:t>
            </a:r>
          </a:p>
        </p:txBody>
      </p:sp>
      <p:pic>
        <p:nvPicPr>
          <p:cNvPr id="37" name="Gráfico 36">
            <a:extLst>
              <a:ext uri="{FF2B5EF4-FFF2-40B4-BE49-F238E27FC236}">
                <a16:creationId xmlns:a16="http://schemas.microsoft.com/office/drawing/2014/main" id="{C5709539-6F58-BD21-8D9F-A7CDC17AA3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50203" y="5077486"/>
            <a:ext cx="1244230" cy="268707"/>
          </a:xfrm>
          <a:prstGeom prst="rect">
            <a:avLst/>
          </a:prstGeom>
        </p:spPr>
      </p:pic>
      <p:sp>
        <p:nvSpPr>
          <p:cNvPr id="38" name="CuadroTexto 37">
            <a:extLst>
              <a:ext uri="{FF2B5EF4-FFF2-40B4-BE49-F238E27FC236}">
                <a16:creationId xmlns:a16="http://schemas.microsoft.com/office/drawing/2014/main" id="{E045C2DB-ADEA-6A44-213A-2B23658A426A}"/>
              </a:ext>
            </a:extLst>
          </p:cNvPr>
          <p:cNvSpPr txBox="1"/>
          <p:nvPr/>
        </p:nvSpPr>
        <p:spPr>
          <a:xfrm>
            <a:off x="385290" y="3013804"/>
            <a:ext cx="1459495" cy="553998"/>
          </a:xfrm>
          <a:prstGeom prst="rect">
            <a:avLst/>
          </a:prstGeom>
          <a:noFill/>
        </p:spPr>
        <p:txBody>
          <a:bodyPr wrap="square" rtlCol="0">
            <a:spAutoFit/>
          </a:bodyPr>
          <a:lstStyle/>
          <a:p>
            <a:pPr algn="ctr"/>
            <a:r>
              <a:rPr lang="en-US" sz="1000">
                <a:solidFill>
                  <a:srgbClr val="3B43FB"/>
                </a:solidFill>
                <a:latin typeface="Open Sans SemiBold" panose="020B0706030804020204" pitchFamily="34" charset="0"/>
                <a:ea typeface="Open Sans SemiBold" panose="020B0706030804020204" pitchFamily="34" charset="0"/>
                <a:cs typeface="Open Sans SemiBold" panose="020B0706030804020204" pitchFamily="34" charset="0"/>
              </a:rPr>
              <a:t>Testing Governance Committee</a:t>
            </a:r>
          </a:p>
          <a:p>
            <a:pPr algn="ctr"/>
            <a:r>
              <a:rPr lang="en-US" sz="1000" err="1">
                <a:solidFill>
                  <a:srgbClr val="3B43FB"/>
                </a:solidFill>
                <a:latin typeface="Open Sans SemiBold" panose="020B0706030804020204" pitchFamily="34" charset="0"/>
                <a:ea typeface="Open Sans SemiBold" panose="020B0706030804020204" pitchFamily="34" charset="0"/>
                <a:cs typeface="Open Sans SemiBold" panose="020B0706030804020204" pitchFamily="34" charset="0"/>
              </a:rPr>
              <a:t>Citizens+Stratis</a:t>
            </a:r>
            <a:endParaRPr lang="en-US" sz="1000">
              <a:solidFill>
                <a:srgbClr val="3B43FB"/>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8" name="Gráfico 17">
            <a:extLst>
              <a:ext uri="{FF2B5EF4-FFF2-40B4-BE49-F238E27FC236}">
                <a16:creationId xmlns:a16="http://schemas.microsoft.com/office/drawing/2014/main" id="{BE42CBD6-B740-509F-FEAA-4CB38C6DBE1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924061" y="2287060"/>
            <a:ext cx="1755011" cy="1362882"/>
          </a:xfrm>
          <a:prstGeom prst="rect">
            <a:avLst/>
          </a:prstGeom>
        </p:spPr>
      </p:pic>
      <p:pic>
        <p:nvPicPr>
          <p:cNvPr id="26" name="Gráfico 25">
            <a:extLst>
              <a:ext uri="{FF2B5EF4-FFF2-40B4-BE49-F238E27FC236}">
                <a16:creationId xmlns:a16="http://schemas.microsoft.com/office/drawing/2014/main" id="{F2526641-2F78-B44F-33A7-AC276FBA106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35276" y="2005035"/>
            <a:ext cx="1466850" cy="733425"/>
          </a:xfrm>
          <a:prstGeom prst="rect">
            <a:avLst/>
          </a:prstGeom>
        </p:spPr>
      </p:pic>
      <p:sp>
        <p:nvSpPr>
          <p:cNvPr id="36" name="CuadroTexto 35">
            <a:extLst>
              <a:ext uri="{FF2B5EF4-FFF2-40B4-BE49-F238E27FC236}">
                <a16:creationId xmlns:a16="http://schemas.microsoft.com/office/drawing/2014/main" id="{BFF96ABE-35A6-5FE2-7846-834F6DE1FE9A}"/>
              </a:ext>
            </a:extLst>
          </p:cNvPr>
          <p:cNvSpPr txBox="1"/>
          <p:nvPr/>
        </p:nvSpPr>
        <p:spPr>
          <a:xfrm>
            <a:off x="2446763" y="2156304"/>
            <a:ext cx="1043876" cy="430887"/>
          </a:xfrm>
          <a:prstGeom prst="rect">
            <a:avLst/>
          </a:prstGeom>
          <a:noFill/>
        </p:spPr>
        <p:txBody>
          <a:bodyPr wrap="none" rtlCol="0">
            <a:spAutoFit/>
          </a:bodyPr>
          <a:lstStyle/>
          <a:p>
            <a:pPr algn="ctr"/>
            <a:r>
              <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rPr>
              <a:t>Sprint Prep </a:t>
            </a:r>
          </a:p>
          <a:p>
            <a:pPr algn="ctr"/>
            <a:r>
              <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rPr>
              <a:t>and Planning</a:t>
            </a:r>
          </a:p>
        </p:txBody>
      </p:sp>
      <p:pic>
        <p:nvPicPr>
          <p:cNvPr id="45" name="Gráfico 44">
            <a:extLst>
              <a:ext uri="{FF2B5EF4-FFF2-40B4-BE49-F238E27FC236}">
                <a16:creationId xmlns:a16="http://schemas.microsoft.com/office/drawing/2014/main" id="{BC03CA41-0D37-668B-7CB6-F080C7B0A16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906403" y="1601688"/>
            <a:ext cx="460514" cy="269189"/>
          </a:xfrm>
          <a:prstGeom prst="rect">
            <a:avLst/>
          </a:prstGeom>
        </p:spPr>
      </p:pic>
      <p:sp>
        <p:nvSpPr>
          <p:cNvPr id="47" name="CuadroTexto 46">
            <a:extLst>
              <a:ext uri="{FF2B5EF4-FFF2-40B4-BE49-F238E27FC236}">
                <a16:creationId xmlns:a16="http://schemas.microsoft.com/office/drawing/2014/main" id="{E5917F0D-8447-9128-0056-45E91DE98836}"/>
              </a:ext>
            </a:extLst>
          </p:cNvPr>
          <p:cNvSpPr txBox="1"/>
          <p:nvPr/>
        </p:nvSpPr>
        <p:spPr>
          <a:xfrm>
            <a:off x="5189817" y="1613173"/>
            <a:ext cx="1821540" cy="246221"/>
          </a:xfrm>
          <a:prstGeom prst="rect">
            <a:avLst/>
          </a:prstGeom>
          <a:noFill/>
        </p:spPr>
        <p:txBody>
          <a:bodyPr wrap="square">
            <a:spAutoFit/>
          </a:bodyPr>
          <a:lstStyle/>
          <a:p>
            <a:pPr algn="ctr" defTabSz="457200">
              <a:spcAft>
                <a:spcPts val="600"/>
              </a:spcAft>
              <a:defRPr/>
            </a:pPr>
            <a:r>
              <a:rPr lang="en-US" sz="1000" b="1">
                <a:solidFill>
                  <a:srgbClr val="0111A2"/>
                </a:solidFill>
                <a:latin typeface="Open Sans" panose="020B0606030504020204" pitchFamily="34" charset="0"/>
                <a:ea typeface="Open Sans" panose="020B0606030504020204" pitchFamily="34" charset="0"/>
                <a:cs typeface="Open Sans" panose="020B0606030504020204" pitchFamily="34" charset="0"/>
              </a:rPr>
              <a:t>Product + Development</a:t>
            </a:r>
            <a:endParaRPr lang="en-US" sz="1000" b="1" i="0" u="none" strike="noStrike" kern="1200" cap="none" spc="0" normalizeH="0" baseline="0">
              <a:ln>
                <a:noFill/>
              </a:ln>
              <a:solidFill>
                <a:srgbClr val="0111A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CuadroTexto 50">
            <a:extLst>
              <a:ext uri="{FF2B5EF4-FFF2-40B4-BE49-F238E27FC236}">
                <a16:creationId xmlns:a16="http://schemas.microsoft.com/office/drawing/2014/main" id="{98DB76E2-54B1-A53F-3A3A-4C2ECD67E728}"/>
              </a:ext>
            </a:extLst>
          </p:cNvPr>
          <p:cNvSpPr txBox="1"/>
          <p:nvPr/>
        </p:nvSpPr>
        <p:spPr>
          <a:xfrm>
            <a:off x="3327769" y="4675252"/>
            <a:ext cx="442750" cy="246221"/>
          </a:xfrm>
          <a:prstGeom prst="rect">
            <a:avLst/>
          </a:prstGeom>
          <a:noFill/>
        </p:spPr>
        <p:txBody>
          <a:bodyPr wrap="square" rtlCol="0">
            <a:spAutoFit/>
          </a:bodyPr>
          <a:lstStyle/>
          <a:p>
            <a:pPr algn="ctr"/>
            <a:r>
              <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rPr>
              <a:t>UAT</a:t>
            </a:r>
          </a:p>
        </p:txBody>
      </p:sp>
      <p:pic>
        <p:nvPicPr>
          <p:cNvPr id="55" name="Gráfico 54">
            <a:extLst>
              <a:ext uri="{FF2B5EF4-FFF2-40B4-BE49-F238E27FC236}">
                <a16:creationId xmlns:a16="http://schemas.microsoft.com/office/drawing/2014/main" id="{2B0D0FDA-9132-CA84-F311-70EE2F9E819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031559" y="4093367"/>
            <a:ext cx="381281" cy="381281"/>
          </a:xfrm>
          <a:prstGeom prst="rect">
            <a:avLst/>
          </a:prstGeom>
        </p:spPr>
      </p:pic>
      <p:pic>
        <p:nvPicPr>
          <p:cNvPr id="6" name="Gráfico 5">
            <a:extLst>
              <a:ext uri="{FF2B5EF4-FFF2-40B4-BE49-F238E27FC236}">
                <a16:creationId xmlns:a16="http://schemas.microsoft.com/office/drawing/2014/main" id="{B9241B29-65DF-7889-E7D0-1A22D03F392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844785" y="4075443"/>
            <a:ext cx="590285" cy="403879"/>
          </a:xfrm>
          <a:prstGeom prst="rect">
            <a:avLst/>
          </a:prstGeom>
        </p:spPr>
      </p:pic>
      <p:pic>
        <p:nvPicPr>
          <p:cNvPr id="9" name="Gráfico 8">
            <a:extLst>
              <a:ext uri="{FF2B5EF4-FFF2-40B4-BE49-F238E27FC236}">
                <a16:creationId xmlns:a16="http://schemas.microsoft.com/office/drawing/2014/main" id="{B55EB77B-BD53-B7E4-BF3B-06F4BF1D1E3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90421" y="4118823"/>
            <a:ext cx="971574" cy="335977"/>
          </a:xfrm>
          <a:prstGeom prst="rect">
            <a:avLst/>
          </a:prstGeom>
        </p:spPr>
      </p:pic>
      <p:sp>
        <p:nvSpPr>
          <p:cNvPr id="5" name="CuadroTexto 4">
            <a:extLst>
              <a:ext uri="{FF2B5EF4-FFF2-40B4-BE49-F238E27FC236}">
                <a16:creationId xmlns:a16="http://schemas.microsoft.com/office/drawing/2014/main" id="{11AE0E9F-A35E-3D9E-13B2-691796480E7C}"/>
              </a:ext>
            </a:extLst>
          </p:cNvPr>
          <p:cNvSpPr txBox="1"/>
          <p:nvPr/>
        </p:nvSpPr>
        <p:spPr>
          <a:xfrm>
            <a:off x="9709561" y="3155089"/>
            <a:ext cx="1837363" cy="901144"/>
          </a:xfrm>
          <a:prstGeom prst="rect">
            <a:avLst/>
          </a:prstGeom>
          <a:noFill/>
        </p:spPr>
        <p:txBody>
          <a:bodyPr wrap="square" rtlCol="0">
            <a:spAutoFit/>
          </a:bodyPr>
          <a:lstStyle/>
          <a:p>
            <a:pPr>
              <a:lnSpc>
                <a:spcPct val="150000"/>
              </a:lnSpc>
              <a:spcBef>
                <a:spcPts val="600"/>
              </a:spcBef>
              <a:spcAft>
                <a:spcPts val="600"/>
              </a:spcAft>
            </a:pPr>
            <a:r>
              <a:rPr lang="en-US" sz="900">
                <a:latin typeface="Open Sans" panose="020B0606030504020204" pitchFamily="34" charset="0"/>
                <a:ea typeface="Open Sans" panose="020B0606030504020204" pitchFamily="34" charset="0"/>
                <a:cs typeface="Open Sans" panose="020B0606030504020204" pitchFamily="34" charset="0"/>
              </a:rPr>
              <a:t>Exploratory Testing</a:t>
            </a:r>
            <a:br>
              <a:rPr lang="en-US" sz="900">
                <a:latin typeface="Open Sans" panose="020B0606030504020204" pitchFamily="34" charset="0"/>
                <a:ea typeface="Open Sans" panose="020B0606030504020204" pitchFamily="34" charset="0"/>
                <a:cs typeface="Open Sans" panose="020B0606030504020204" pitchFamily="34" charset="0"/>
              </a:rPr>
            </a:br>
            <a:r>
              <a:rPr lang="en-US" sz="900">
                <a:latin typeface="Open Sans" panose="020B0606030504020204" pitchFamily="34" charset="0"/>
                <a:ea typeface="Open Sans" panose="020B0606030504020204" pitchFamily="34" charset="0"/>
                <a:cs typeface="Open Sans" panose="020B0606030504020204" pitchFamily="34" charset="0"/>
              </a:rPr>
              <a:t>Smoke Tests</a:t>
            </a:r>
            <a:br>
              <a:rPr lang="en-US" sz="900">
                <a:latin typeface="Open Sans" panose="020B0606030504020204" pitchFamily="34" charset="0"/>
                <a:ea typeface="Open Sans" panose="020B0606030504020204" pitchFamily="34" charset="0"/>
                <a:cs typeface="Open Sans" panose="020B0606030504020204" pitchFamily="34" charset="0"/>
              </a:rPr>
            </a:br>
            <a:r>
              <a:rPr lang="en-US" sz="900">
                <a:latin typeface="Open Sans" panose="020B0606030504020204" pitchFamily="34" charset="0"/>
                <a:ea typeface="Open Sans" panose="020B0606030504020204" pitchFamily="34" charset="0"/>
                <a:cs typeface="Open Sans" panose="020B0606030504020204" pitchFamily="34" charset="0"/>
              </a:rPr>
              <a:t>Functional Testing</a:t>
            </a:r>
            <a:br>
              <a:rPr lang="en-US" sz="900">
                <a:latin typeface="Open Sans" panose="020B0606030504020204" pitchFamily="34" charset="0"/>
                <a:ea typeface="Open Sans" panose="020B0606030504020204" pitchFamily="34" charset="0"/>
                <a:cs typeface="Open Sans" panose="020B0606030504020204" pitchFamily="34" charset="0"/>
              </a:rPr>
            </a:br>
            <a:r>
              <a:rPr lang="en-US" sz="900">
                <a:latin typeface="Open Sans" panose="020B0606030504020204" pitchFamily="34" charset="0"/>
                <a:ea typeface="Open Sans" panose="020B0606030504020204" pitchFamily="34" charset="0"/>
                <a:cs typeface="Open Sans" panose="020B0606030504020204" pitchFamily="34" charset="0"/>
              </a:rPr>
              <a:t>Non Functional Testing</a:t>
            </a:r>
            <a:endParaRPr lang="es-MX" sz="900">
              <a:latin typeface="Open Sans" panose="020B0606030504020204" pitchFamily="34" charset="0"/>
              <a:ea typeface="Open Sans" panose="020B0606030504020204" pitchFamily="34" charset="0"/>
              <a:cs typeface="Open Sans" panose="020B0606030504020204" pitchFamily="34" charset="0"/>
            </a:endParaRPr>
          </a:p>
        </p:txBody>
      </p:sp>
      <p:sp>
        <p:nvSpPr>
          <p:cNvPr id="10" name="CuadroTexto 9">
            <a:extLst>
              <a:ext uri="{FF2B5EF4-FFF2-40B4-BE49-F238E27FC236}">
                <a16:creationId xmlns:a16="http://schemas.microsoft.com/office/drawing/2014/main" id="{201D99EC-0AE3-9964-57DD-B38E086EAD4B}"/>
              </a:ext>
            </a:extLst>
          </p:cNvPr>
          <p:cNvSpPr txBox="1"/>
          <p:nvPr/>
        </p:nvSpPr>
        <p:spPr>
          <a:xfrm>
            <a:off x="4280323" y="4593292"/>
            <a:ext cx="2130711" cy="400110"/>
          </a:xfrm>
          <a:prstGeom prst="rect">
            <a:avLst/>
          </a:prstGeom>
          <a:noFill/>
        </p:spPr>
        <p:txBody>
          <a:bodyPr wrap="square" rtlCol="0">
            <a:spAutoFit/>
          </a:bodyPr>
          <a:lstStyle/>
          <a:p>
            <a:pPr algn="ctr"/>
            <a:r>
              <a:rPr lang="en-US" sz="1000" b="1">
                <a:solidFill>
                  <a:srgbClr val="F86F35"/>
                </a:solidFill>
                <a:latin typeface="Open Sans" panose="020B0606030504020204" pitchFamily="34" charset="0"/>
                <a:ea typeface="Open Sans" panose="020B0606030504020204" pitchFamily="34" charset="0"/>
                <a:cs typeface="Open Sans" panose="020B0606030504020204" pitchFamily="34" charset="0"/>
              </a:rPr>
              <a:t>System/</a:t>
            </a:r>
          </a:p>
          <a:p>
            <a:pPr algn="ctr"/>
            <a:r>
              <a:rPr lang="en-US" sz="1000" b="1">
                <a:solidFill>
                  <a:srgbClr val="F86F35"/>
                </a:solidFill>
                <a:latin typeface="Open Sans" panose="020B0606030504020204" pitchFamily="34" charset="0"/>
                <a:ea typeface="Open Sans" panose="020B0606030504020204" pitchFamily="34" charset="0"/>
                <a:cs typeface="Open Sans" panose="020B0606030504020204" pitchFamily="34" charset="0"/>
              </a:rPr>
              <a:t>Regression testing</a:t>
            </a:r>
            <a:endParaRPr lang="es-MX" sz="1000" b="1">
              <a:solidFill>
                <a:srgbClr val="F86F35"/>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 name="Imagen 16">
            <a:extLst>
              <a:ext uri="{FF2B5EF4-FFF2-40B4-BE49-F238E27FC236}">
                <a16:creationId xmlns:a16="http://schemas.microsoft.com/office/drawing/2014/main" id="{8DFF5404-11C9-2E99-A63E-4D72FB04E7B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371577" y="2858691"/>
            <a:ext cx="290943" cy="568883"/>
          </a:xfrm>
          <a:prstGeom prst="rect">
            <a:avLst/>
          </a:prstGeom>
        </p:spPr>
      </p:pic>
      <p:pic>
        <p:nvPicPr>
          <p:cNvPr id="28" name="Gráfico 27">
            <a:extLst>
              <a:ext uri="{FF2B5EF4-FFF2-40B4-BE49-F238E27FC236}">
                <a16:creationId xmlns:a16="http://schemas.microsoft.com/office/drawing/2014/main" id="{3E443327-4759-A65F-CB32-88A0BB0D0735}"/>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639445" y="4175177"/>
            <a:ext cx="2106682" cy="1164527"/>
          </a:xfrm>
          <a:prstGeom prst="rect">
            <a:avLst/>
          </a:prstGeom>
        </p:spPr>
      </p:pic>
      <p:sp>
        <p:nvSpPr>
          <p:cNvPr id="32" name="Elipse 31">
            <a:extLst>
              <a:ext uri="{FF2B5EF4-FFF2-40B4-BE49-F238E27FC236}">
                <a16:creationId xmlns:a16="http://schemas.microsoft.com/office/drawing/2014/main" id="{8E796A90-6D44-5C13-AEF1-64AE3A1561BC}"/>
              </a:ext>
            </a:extLst>
          </p:cNvPr>
          <p:cNvSpPr/>
          <p:nvPr/>
        </p:nvSpPr>
        <p:spPr>
          <a:xfrm>
            <a:off x="6742843" y="3484480"/>
            <a:ext cx="327121" cy="327121"/>
          </a:xfrm>
          <a:prstGeom prst="ellipse">
            <a:avLst/>
          </a:prstGeom>
          <a:solidFill>
            <a:srgbClr val="F86F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a:solidFill>
                  <a:schemeClr val="bg1"/>
                </a:solidFill>
              </a:rPr>
              <a:t>5</a:t>
            </a:r>
          </a:p>
        </p:txBody>
      </p:sp>
      <p:pic>
        <p:nvPicPr>
          <p:cNvPr id="13" name="Gráfico 12">
            <a:extLst>
              <a:ext uri="{FF2B5EF4-FFF2-40B4-BE49-F238E27FC236}">
                <a16:creationId xmlns:a16="http://schemas.microsoft.com/office/drawing/2014/main" id="{DEC766F0-6931-82FB-99A9-190634E7ADA8}"/>
              </a:ext>
            </a:extLst>
          </p:cNvPr>
          <p:cNvPicPr>
            <a:picLocks noChangeAspect="1"/>
          </p:cNvPicPr>
          <p:nvPr/>
        </p:nvPicPr>
        <p:blipFill>
          <a:blip r:embed="rId27">
            <a:extLst>
              <a:ext uri="{96DAC541-7B7A-43D3-8B79-37D633B846F1}">
                <asvg:svgBlip xmlns:asvg="http://schemas.microsoft.com/office/drawing/2016/SVG/main" r:embed="rId28"/>
              </a:ext>
            </a:extLst>
          </a:blip>
          <a:srcRect l="11446" t="2" b="-562"/>
          <a:stretch/>
        </p:blipFill>
        <p:spPr>
          <a:xfrm>
            <a:off x="5913707" y="1922089"/>
            <a:ext cx="5228750" cy="3720771"/>
          </a:xfrm>
          <a:prstGeom prst="rect">
            <a:avLst/>
          </a:prstGeom>
        </p:spPr>
      </p:pic>
      <p:pic>
        <p:nvPicPr>
          <p:cNvPr id="43" name="Gráfico 42">
            <a:extLst>
              <a:ext uri="{FF2B5EF4-FFF2-40B4-BE49-F238E27FC236}">
                <a16:creationId xmlns:a16="http://schemas.microsoft.com/office/drawing/2014/main" id="{8323E5D3-F976-DFF0-6810-7CD49425F2B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95040" y="1492681"/>
            <a:ext cx="1466850" cy="733425"/>
          </a:xfrm>
          <a:prstGeom prst="rect">
            <a:avLst/>
          </a:prstGeom>
        </p:spPr>
      </p:pic>
      <p:sp>
        <p:nvSpPr>
          <p:cNvPr id="42" name="CuadroTexto 41">
            <a:extLst>
              <a:ext uri="{FF2B5EF4-FFF2-40B4-BE49-F238E27FC236}">
                <a16:creationId xmlns:a16="http://schemas.microsoft.com/office/drawing/2014/main" id="{32D48B24-0F0A-F51F-7BC7-C499C9422390}"/>
              </a:ext>
            </a:extLst>
          </p:cNvPr>
          <p:cNvSpPr txBox="1"/>
          <p:nvPr/>
        </p:nvSpPr>
        <p:spPr>
          <a:xfrm>
            <a:off x="10295040" y="1562095"/>
            <a:ext cx="1466850" cy="600164"/>
          </a:xfrm>
          <a:prstGeom prst="rect">
            <a:avLst/>
          </a:prstGeom>
          <a:noFill/>
        </p:spPr>
        <p:txBody>
          <a:bodyPr wrap="square">
            <a:spAutoFit/>
          </a:bodyPr>
          <a:lstStyle/>
          <a:p>
            <a:pPr algn="ctr"/>
            <a:r>
              <a:rPr lang="en-US" sz="1100">
                <a:solidFill>
                  <a:schemeClr val="bg1"/>
                </a:solidFill>
                <a:latin typeface="Open Sans" panose="020B0606030504020204" pitchFamily="34" charset="0"/>
                <a:ea typeface="Open Sans" panose="020B0606030504020204" pitchFamily="34" charset="0"/>
                <a:cs typeface="Open Sans" panose="020B0606030504020204" pitchFamily="34" charset="0"/>
              </a:rPr>
              <a:t>Virtual services and environment management</a:t>
            </a:r>
          </a:p>
        </p:txBody>
      </p:sp>
      <p:sp>
        <p:nvSpPr>
          <p:cNvPr id="30" name="CuadroTexto 29">
            <a:extLst>
              <a:ext uri="{FF2B5EF4-FFF2-40B4-BE49-F238E27FC236}">
                <a16:creationId xmlns:a16="http://schemas.microsoft.com/office/drawing/2014/main" id="{ED581B08-70DD-55D8-526B-D7886422A165}"/>
              </a:ext>
            </a:extLst>
          </p:cNvPr>
          <p:cNvSpPr txBox="1"/>
          <p:nvPr/>
        </p:nvSpPr>
        <p:spPr>
          <a:xfrm>
            <a:off x="5555573" y="3133514"/>
            <a:ext cx="909965" cy="400110"/>
          </a:xfrm>
          <a:prstGeom prst="rect">
            <a:avLst/>
          </a:prstGeom>
          <a:noFill/>
        </p:spPr>
        <p:txBody>
          <a:bodyPr wrap="square" rtlCol="0">
            <a:spAutoFit/>
          </a:bodyPr>
          <a:lstStyle/>
          <a:p>
            <a:pPr algn="ctr"/>
            <a:r>
              <a:rPr lang="es-MX" sz="1000">
                <a:latin typeface="Open Sans SemiBold" panose="020B0706030804020204" pitchFamily="34" charset="0"/>
                <a:ea typeface="Open Sans SemiBold" panose="020B0706030804020204" pitchFamily="34" charset="0"/>
                <a:cs typeface="Open Sans SemiBold" panose="020B0706030804020204" pitchFamily="34" charset="0"/>
              </a:rPr>
              <a:t>DAILY</a:t>
            </a:r>
          </a:p>
          <a:p>
            <a:pPr algn="ctr"/>
            <a:r>
              <a:rPr lang="es-MX" sz="1000">
                <a:latin typeface="Open Sans SemiBold" panose="020B0706030804020204" pitchFamily="34" charset="0"/>
                <a:ea typeface="Open Sans SemiBold" panose="020B0706030804020204" pitchFamily="34" charset="0"/>
                <a:cs typeface="Open Sans SemiBold" panose="020B0706030804020204" pitchFamily="34" charset="0"/>
              </a:rPr>
              <a:t>STAND-UP</a:t>
            </a:r>
          </a:p>
        </p:txBody>
      </p:sp>
      <p:pic>
        <p:nvPicPr>
          <p:cNvPr id="49" name="Gráfico 48">
            <a:extLst>
              <a:ext uri="{FF2B5EF4-FFF2-40B4-BE49-F238E27FC236}">
                <a16:creationId xmlns:a16="http://schemas.microsoft.com/office/drawing/2014/main" id="{F37BC6B6-71B8-DAD6-06D0-C12AE544E93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36152" y="5077217"/>
            <a:ext cx="822220" cy="284329"/>
          </a:xfrm>
          <a:prstGeom prst="rect">
            <a:avLst/>
          </a:prstGeom>
        </p:spPr>
      </p:pic>
      <p:sp>
        <p:nvSpPr>
          <p:cNvPr id="50" name="CuadroTexto 49">
            <a:extLst>
              <a:ext uri="{FF2B5EF4-FFF2-40B4-BE49-F238E27FC236}">
                <a16:creationId xmlns:a16="http://schemas.microsoft.com/office/drawing/2014/main" id="{3B0A5D8A-8FA7-E20A-1B7B-B91062932080}"/>
              </a:ext>
            </a:extLst>
          </p:cNvPr>
          <p:cNvSpPr txBox="1"/>
          <p:nvPr/>
        </p:nvSpPr>
        <p:spPr>
          <a:xfrm>
            <a:off x="1661534" y="5069194"/>
            <a:ext cx="822662" cy="276999"/>
          </a:xfrm>
          <a:prstGeom prst="rect">
            <a:avLst/>
          </a:prstGeom>
          <a:noFill/>
        </p:spPr>
        <p:txBody>
          <a:bodyPr wrap="none" rtlCol="0">
            <a:spAutoFit/>
          </a:bodyPr>
          <a:lstStyle/>
          <a:p>
            <a:pPr algn="ctr"/>
            <a:r>
              <a:rPr lang="es-MX" sz="1200" b="1">
                <a:solidFill>
                  <a:srgbClr val="3B43FB"/>
                </a:solidFill>
                <a:latin typeface="Open Sans" panose="020B0606030504020204" pitchFamily="34" charset="0"/>
                <a:ea typeface="Open Sans" panose="020B0606030504020204" pitchFamily="34" charset="0"/>
                <a:cs typeface="Open Sans" panose="020B0606030504020204" pitchFamily="34" charset="0"/>
              </a:rPr>
              <a:t>RELEASE</a:t>
            </a:r>
          </a:p>
        </p:txBody>
      </p:sp>
      <p:pic>
        <p:nvPicPr>
          <p:cNvPr id="53" name="Gráfico 52">
            <a:extLst>
              <a:ext uri="{FF2B5EF4-FFF2-40B4-BE49-F238E27FC236}">
                <a16:creationId xmlns:a16="http://schemas.microsoft.com/office/drawing/2014/main" id="{0AD07735-8976-D4F5-1E69-641C861CFC6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5441065" y="2755519"/>
            <a:ext cx="1133159" cy="1189117"/>
          </a:xfrm>
          <a:prstGeom prst="rect">
            <a:avLst/>
          </a:prstGeom>
        </p:spPr>
      </p:pic>
      <p:sp>
        <p:nvSpPr>
          <p:cNvPr id="56" name="Rectángulo 55">
            <a:extLst>
              <a:ext uri="{FF2B5EF4-FFF2-40B4-BE49-F238E27FC236}">
                <a16:creationId xmlns:a16="http://schemas.microsoft.com/office/drawing/2014/main" id="{2DD2596E-236C-1827-E63C-FB4BD5973012}"/>
              </a:ext>
            </a:extLst>
          </p:cNvPr>
          <p:cNvSpPr/>
          <p:nvPr/>
        </p:nvSpPr>
        <p:spPr>
          <a:xfrm>
            <a:off x="2832847" y="2855327"/>
            <a:ext cx="209172" cy="543198"/>
          </a:xfrm>
          <a:prstGeom prst="rect">
            <a:avLst/>
          </a:prstGeom>
          <a:solidFill>
            <a:srgbClr val="FBF8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4" name="Imagen 53" descr="Imagen que contiene Icono&#10;&#10;El contenido generado por IA puede ser incorrecto.">
            <a:extLst>
              <a:ext uri="{FF2B5EF4-FFF2-40B4-BE49-F238E27FC236}">
                <a16:creationId xmlns:a16="http://schemas.microsoft.com/office/drawing/2014/main" id="{8B277D59-AC54-28FF-10B5-72B39CC52198}"/>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708177" y="2907058"/>
            <a:ext cx="433528" cy="433528"/>
          </a:xfrm>
          <a:prstGeom prst="rect">
            <a:avLst/>
          </a:prstGeom>
        </p:spPr>
      </p:pic>
      <p:pic>
        <p:nvPicPr>
          <p:cNvPr id="57" name="Imagen 56" descr="Imagen que contiene Icono&#10;&#10;El contenido generado por IA puede ser incorrecto.">
            <a:extLst>
              <a:ext uri="{FF2B5EF4-FFF2-40B4-BE49-F238E27FC236}">
                <a16:creationId xmlns:a16="http://schemas.microsoft.com/office/drawing/2014/main" id="{A862DFE5-2E7D-CED0-B2D6-0FCCAE975598}"/>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839705" y="1637957"/>
            <a:ext cx="433528" cy="433528"/>
          </a:xfrm>
          <a:prstGeom prst="rect">
            <a:avLst/>
          </a:prstGeom>
        </p:spPr>
      </p:pic>
      <p:sp>
        <p:nvSpPr>
          <p:cNvPr id="58" name="Rectángulo 57">
            <a:extLst>
              <a:ext uri="{FF2B5EF4-FFF2-40B4-BE49-F238E27FC236}">
                <a16:creationId xmlns:a16="http://schemas.microsoft.com/office/drawing/2014/main" id="{3AB919F4-C9F7-F65D-1CFA-E59A9264C639}"/>
              </a:ext>
            </a:extLst>
          </p:cNvPr>
          <p:cNvSpPr/>
          <p:nvPr/>
        </p:nvSpPr>
        <p:spPr>
          <a:xfrm>
            <a:off x="10027205" y="5419780"/>
            <a:ext cx="640664" cy="543198"/>
          </a:xfrm>
          <a:prstGeom prst="rect">
            <a:avLst/>
          </a:prstGeom>
          <a:solidFill>
            <a:srgbClr val="FBF8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59" name="Imagen 58" descr="Imagen que contiene Icono&#10;&#10;El contenido generado por IA puede ser incorrecto.">
            <a:extLst>
              <a:ext uri="{FF2B5EF4-FFF2-40B4-BE49-F238E27FC236}">
                <a16:creationId xmlns:a16="http://schemas.microsoft.com/office/drawing/2014/main" id="{C0A03BC8-8C05-77F1-BB29-46EBAF8B50A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067952" y="5391749"/>
            <a:ext cx="571229" cy="571229"/>
          </a:xfrm>
          <a:prstGeom prst="rect">
            <a:avLst/>
          </a:prstGeom>
        </p:spPr>
      </p:pic>
      <p:pic>
        <p:nvPicPr>
          <p:cNvPr id="16" name="Imagen 15" descr="Imagen que contiene computadora, monitor, teclado, pantalla&#10;&#10;El contenido generado por IA puede ser incorrecto.">
            <a:extLst>
              <a:ext uri="{FF2B5EF4-FFF2-40B4-BE49-F238E27FC236}">
                <a16:creationId xmlns:a16="http://schemas.microsoft.com/office/drawing/2014/main" id="{E1DA341F-5D64-22D2-0207-8CDEC8428C86}"/>
              </a:ext>
            </a:extLst>
          </p:cNvPr>
          <p:cNvPicPr>
            <a:picLocks noChangeAspect="1"/>
          </p:cNvPicPr>
          <p:nvPr/>
        </p:nvPicPr>
        <p:blipFill>
          <a:blip r:embed="rId32">
            <a:alphaModFix amt="20000"/>
            <a:extLst>
              <a:ext uri="{28A0092B-C50C-407E-A947-70E740481C1C}">
                <a14:useLocalDpi xmlns:a14="http://schemas.microsoft.com/office/drawing/2010/main" val="0"/>
              </a:ext>
            </a:extLst>
          </a:blip>
          <a:stretch>
            <a:fillRect/>
          </a:stretch>
        </p:blipFill>
        <p:spPr>
          <a:xfrm>
            <a:off x="6988249" y="3691773"/>
            <a:ext cx="680997" cy="540791"/>
          </a:xfrm>
          <a:prstGeom prst="rect">
            <a:avLst/>
          </a:prstGeom>
        </p:spPr>
      </p:pic>
      <p:sp>
        <p:nvSpPr>
          <p:cNvPr id="60" name="CuadroTexto 59">
            <a:extLst>
              <a:ext uri="{FF2B5EF4-FFF2-40B4-BE49-F238E27FC236}">
                <a16:creationId xmlns:a16="http://schemas.microsoft.com/office/drawing/2014/main" id="{757BCDD6-0EE3-5710-201E-6247DDE4DA08}"/>
              </a:ext>
            </a:extLst>
          </p:cNvPr>
          <p:cNvSpPr txBox="1"/>
          <p:nvPr/>
        </p:nvSpPr>
        <p:spPr>
          <a:xfrm>
            <a:off x="8186530" y="3501166"/>
            <a:ext cx="1821540" cy="246221"/>
          </a:xfrm>
          <a:prstGeom prst="rect">
            <a:avLst/>
          </a:prstGeom>
          <a:noFill/>
        </p:spPr>
        <p:txBody>
          <a:bodyPr wrap="square">
            <a:spAutoFit/>
          </a:bodyPr>
          <a:lstStyle/>
          <a:p>
            <a:pPr algn="ctr" defTabSz="457200">
              <a:spcAft>
                <a:spcPts val="600"/>
              </a:spcAft>
              <a:defRPr/>
            </a:pPr>
            <a:r>
              <a:rPr lang="en-US" sz="1000" b="1">
                <a:solidFill>
                  <a:srgbClr val="0111A2"/>
                </a:solidFill>
                <a:latin typeface="Open Sans" panose="020B0606030504020204" pitchFamily="34" charset="0"/>
                <a:ea typeface="Open Sans" panose="020B0606030504020204" pitchFamily="34" charset="0"/>
                <a:cs typeface="Open Sans" panose="020B0606030504020204" pitchFamily="34" charset="0"/>
              </a:rPr>
              <a:t>Data Management</a:t>
            </a:r>
            <a:endParaRPr lang="en-US" sz="1000" b="1" i="0" u="none" strike="noStrike" kern="1200" cap="none" spc="0" normalizeH="0" baseline="0">
              <a:ln>
                <a:noFill/>
              </a:ln>
              <a:solidFill>
                <a:srgbClr val="0111A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345" name="Gráfico 1344">
            <a:extLst>
              <a:ext uri="{FF2B5EF4-FFF2-40B4-BE49-F238E27FC236}">
                <a16:creationId xmlns:a16="http://schemas.microsoft.com/office/drawing/2014/main" id="{25D31E51-DC7E-2DC5-F504-84989F4EAF9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950167" y="2493794"/>
            <a:ext cx="1479297" cy="2248531"/>
          </a:xfrm>
          <a:prstGeom prst="rect">
            <a:avLst/>
          </a:prstGeom>
        </p:spPr>
      </p:pic>
      <p:pic>
        <p:nvPicPr>
          <p:cNvPr id="23" name="Gráfico 22">
            <a:extLst>
              <a:ext uri="{FF2B5EF4-FFF2-40B4-BE49-F238E27FC236}">
                <a16:creationId xmlns:a16="http://schemas.microsoft.com/office/drawing/2014/main" id="{09615499-094F-4AFA-3BAF-B5621BBF88D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890628" y="2646062"/>
            <a:ext cx="455572" cy="433528"/>
          </a:xfrm>
          <a:prstGeom prst="rect">
            <a:avLst/>
          </a:prstGeom>
        </p:spPr>
      </p:pic>
      <p:pic>
        <p:nvPicPr>
          <p:cNvPr id="12" name="Imagen 11" descr="Imagen que contiene Icono&#10;&#10;El contenido generado por IA puede ser incorrecto.">
            <a:extLst>
              <a:ext uri="{FF2B5EF4-FFF2-40B4-BE49-F238E27FC236}">
                <a16:creationId xmlns:a16="http://schemas.microsoft.com/office/drawing/2014/main" id="{729529A6-283B-EED6-9E52-F5BE0E75B3A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163881" y="3434291"/>
            <a:ext cx="351790" cy="351790"/>
          </a:xfrm>
          <a:prstGeom prst="rect">
            <a:avLst/>
          </a:prstGeom>
        </p:spPr>
      </p:pic>
      <p:sp>
        <p:nvSpPr>
          <p:cNvPr id="24" name="CuadroTexto 23">
            <a:extLst>
              <a:ext uri="{FF2B5EF4-FFF2-40B4-BE49-F238E27FC236}">
                <a16:creationId xmlns:a16="http://schemas.microsoft.com/office/drawing/2014/main" id="{5B1EE36B-9141-1367-6346-13611B2068DC}"/>
              </a:ext>
            </a:extLst>
          </p:cNvPr>
          <p:cNvSpPr txBox="1"/>
          <p:nvPr/>
        </p:nvSpPr>
        <p:spPr>
          <a:xfrm>
            <a:off x="4280323" y="5400741"/>
            <a:ext cx="2130711" cy="369332"/>
          </a:xfrm>
          <a:prstGeom prst="rect">
            <a:avLst/>
          </a:prstGeom>
          <a:noFill/>
        </p:spPr>
        <p:txBody>
          <a:bodyPr wrap="square" rtlCol="0">
            <a:spAutoFit/>
          </a:bodyPr>
          <a:lstStyle/>
          <a:p>
            <a:pPr algn="ctr"/>
            <a:r>
              <a:rPr lang="en-US" sz="900">
                <a:solidFill>
                  <a:srgbClr val="00194F"/>
                </a:solidFill>
                <a:latin typeface="Open Sans" panose="020B0606030504020204" pitchFamily="34" charset="0"/>
                <a:ea typeface="Open Sans" panose="020B0606030504020204" pitchFamily="34" charset="0"/>
                <a:cs typeface="Open Sans" panose="020B0606030504020204" pitchFamily="34" charset="0"/>
              </a:rPr>
              <a:t>Script Execution, Maintenance</a:t>
            </a:r>
          </a:p>
          <a:p>
            <a:pPr algn="ctr"/>
            <a:r>
              <a:rPr lang="en-US" sz="900">
                <a:solidFill>
                  <a:srgbClr val="00194F"/>
                </a:solidFill>
                <a:latin typeface="Open Sans" panose="020B0606030504020204" pitchFamily="34" charset="0"/>
                <a:ea typeface="Open Sans" panose="020B0606030504020204" pitchFamily="34" charset="0"/>
                <a:cs typeface="Open Sans" panose="020B0606030504020204" pitchFamily="34" charset="0"/>
              </a:rPr>
              <a:t>and Optimization</a:t>
            </a:r>
            <a:endParaRPr lang="es-MX" sz="900">
              <a:solidFill>
                <a:srgbClr val="00194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Box 46">
            <a:extLst>
              <a:ext uri="{FF2B5EF4-FFF2-40B4-BE49-F238E27FC236}">
                <a16:creationId xmlns:a16="http://schemas.microsoft.com/office/drawing/2014/main" id="{2DB48407-A799-5C33-F47D-1111D721245A}"/>
              </a:ext>
            </a:extLst>
          </p:cNvPr>
          <p:cNvSpPr txBox="1"/>
          <p:nvPr/>
        </p:nvSpPr>
        <p:spPr>
          <a:xfrm>
            <a:off x="9689815" y="6129563"/>
            <a:ext cx="2271036" cy="400110"/>
          </a:xfrm>
          <a:prstGeom prst="rect">
            <a:avLst/>
          </a:prstGeom>
          <a:noFill/>
        </p:spPr>
        <p:txBody>
          <a:bodyPr wrap="square" rtlCol="0" anchor="t">
            <a:spAutoFit/>
          </a:bodyPr>
          <a:lstStyle/>
          <a:p>
            <a:pPr algn="ctr">
              <a:lnSpc>
                <a:spcPts val="1200"/>
              </a:lnSpc>
            </a:pPr>
            <a:r>
              <a:rPr lang="en-US" sz="1000" b="1" spc="-15">
                <a:solidFill>
                  <a:srgbClr val="F86F35"/>
                </a:solidFill>
                <a:latin typeface="Open Sans" panose="020B0606030504020204" pitchFamily="34" charset="0"/>
                <a:ea typeface="Open Sans" panose="020B0606030504020204" pitchFamily="34" charset="0"/>
                <a:cs typeface="Open Sans" panose="020B0606030504020204" pitchFamily="34" charset="0"/>
              </a:rPr>
              <a:t>* Depending on the Automation Adoption Maturity Level. </a:t>
            </a:r>
          </a:p>
        </p:txBody>
      </p:sp>
    </p:spTree>
    <p:extLst>
      <p:ext uri="{BB962C8B-B14F-4D97-AF65-F5344CB8AC3E}">
        <p14:creationId xmlns:p14="http://schemas.microsoft.com/office/powerpoint/2010/main" val="62157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a:extLst>
            <a:ext uri="{FF2B5EF4-FFF2-40B4-BE49-F238E27FC236}">
              <a16:creationId xmlns:a16="http://schemas.microsoft.com/office/drawing/2014/main" id="{42E824C0-E70B-98BE-C74C-18AF97291185}"/>
            </a:ext>
          </a:extLst>
        </p:cNvPr>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B1E3256E-1A2A-254F-2BAB-54B83ED6B0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to 5" hidden="1">
                        <a:extLst>
                          <a:ext uri="{FF2B5EF4-FFF2-40B4-BE49-F238E27FC236}">
                            <a16:creationId xmlns:a16="http://schemas.microsoft.com/office/drawing/2014/main" id="{B1E3256E-1A2A-254F-2BAB-54B83ED6B0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7DCD298D-9863-5497-90FF-ED414AF88CED}"/>
              </a:ext>
            </a:extLst>
          </p:cNvPr>
          <p:cNvSpPr>
            <a:spLocks noGrp="1"/>
          </p:cNvSpPr>
          <p:nvPr>
            <p:ph type="body" sz="quarter" idx="13"/>
          </p:nvPr>
        </p:nvSpPr>
        <p:spPr>
          <a:xfrm>
            <a:off x="525657" y="381639"/>
            <a:ext cx="11320907" cy="396000"/>
          </a:xfrm>
        </p:spPr>
        <p:txBody>
          <a:bodyPr vert="horz" lIns="91440" tIns="45720" rIns="91440" bIns="45720" rtlCol="0" anchor="t">
            <a:noAutofit/>
          </a:bodyPr>
          <a:lstStyle/>
          <a:p>
            <a:r>
              <a:rPr lang="es-MX">
                <a:solidFill>
                  <a:srgbClr val="F86F35"/>
                </a:solidFill>
                <a:latin typeface="Open Sans ExtraBold"/>
                <a:ea typeface="Open Sans ExtraBold"/>
                <a:cs typeface="Open Sans ExtraBold"/>
              </a:rPr>
              <a:t>STRATIS DEEP DESIGN METHODOLOGY </a:t>
            </a:r>
            <a:endParaRPr lang="es-MX">
              <a:solidFill>
                <a:srgbClr val="F86F35"/>
              </a:solidFill>
            </a:endParaRPr>
          </a:p>
        </p:txBody>
      </p:sp>
      <p:sp>
        <p:nvSpPr>
          <p:cNvPr id="7" name="Marcador de número de diapositiva 2">
            <a:extLst>
              <a:ext uri="{FF2B5EF4-FFF2-40B4-BE49-F238E27FC236}">
                <a16:creationId xmlns:a16="http://schemas.microsoft.com/office/drawing/2014/main" id="{C2987F6A-E6D5-7FCE-E397-AB069FB8B05C}"/>
              </a:ext>
            </a:extLst>
          </p:cNvPr>
          <p:cNvSpPr>
            <a:spLocks noGrp="1"/>
          </p:cNvSpPr>
          <p:nvPr>
            <p:ph type="sldNum" sz="quarter" idx="20"/>
          </p:nvPr>
        </p:nvSpPr>
        <p:spPr>
          <a:xfrm>
            <a:off x="11547762" y="6356350"/>
            <a:ext cx="374072" cy="365125"/>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4CD5EE6-B07D-46D8-B98F-6FBF37506E8E}" type="slidenum">
              <a:rPr kumimoji="0" lang="es-MX" sz="1200" b="0" i="0" u="none" strike="noStrike" kern="1200" cap="none" spc="0" normalizeH="0" baseline="0" noProof="0" smtClean="0">
                <a:ln>
                  <a:noFill/>
                </a:ln>
                <a:solidFill>
                  <a:srgbClr val="FF8367"/>
                </a:solidFill>
                <a:effectLst/>
                <a:uLnTx/>
                <a:uFillTx/>
                <a:latin typeface="Open Sans Light"/>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0" lang="es-MX" sz="1200" b="0" i="0" u="none" strike="noStrike" kern="1200" cap="none" spc="0" normalizeH="0" baseline="0" noProof="0">
              <a:ln>
                <a:noFill/>
              </a:ln>
              <a:solidFill>
                <a:srgbClr val="FF8367"/>
              </a:solidFill>
              <a:effectLst/>
              <a:uLnTx/>
              <a:uFillTx/>
              <a:latin typeface="Open Sans Light"/>
              <a:ea typeface="+mn-ea"/>
              <a:cs typeface="+mn-cs"/>
            </a:endParaRPr>
          </a:p>
        </p:txBody>
      </p:sp>
      <p:sp>
        <p:nvSpPr>
          <p:cNvPr id="2" name="TextBox 1">
            <a:extLst>
              <a:ext uri="{FF2B5EF4-FFF2-40B4-BE49-F238E27FC236}">
                <a16:creationId xmlns:a16="http://schemas.microsoft.com/office/drawing/2014/main" id="{CB7ED777-FD6D-33CE-9AAE-DDBD7046B090}"/>
              </a:ext>
            </a:extLst>
          </p:cNvPr>
          <p:cNvSpPr txBox="1"/>
          <p:nvPr/>
        </p:nvSpPr>
        <p:spPr>
          <a:xfrm>
            <a:off x="434565" y="4811532"/>
            <a:ext cx="3594231" cy="338554"/>
          </a:xfrm>
          <a:prstGeom prst="rect">
            <a:avLst/>
          </a:prstGeom>
          <a:noFill/>
        </p:spPr>
        <p:txBody>
          <a:bodyPr wrap="square" rtlCol="0">
            <a:spAutoFit/>
          </a:bodyPr>
          <a:lstStyle/>
          <a:p>
            <a:r>
              <a:rPr lang="en-US" sz="1600" noProof="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How this helps your business:</a:t>
            </a:r>
          </a:p>
        </p:txBody>
      </p:sp>
      <p:grpSp>
        <p:nvGrpSpPr>
          <p:cNvPr id="5" name="Group 4">
            <a:extLst>
              <a:ext uri="{FF2B5EF4-FFF2-40B4-BE49-F238E27FC236}">
                <a16:creationId xmlns:a16="http://schemas.microsoft.com/office/drawing/2014/main" id="{99EC4D82-2648-81BF-1A35-C591AF1B2646}"/>
              </a:ext>
            </a:extLst>
          </p:cNvPr>
          <p:cNvGrpSpPr/>
          <p:nvPr/>
        </p:nvGrpSpPr>
        <p:grpSpPr>
          <a:xfrm>
            <a:off x="4408923" y="1262546"/>
            <a:ext cx="3374154" cy="3372812"/>
            <a:chOff x="4294809" y="1262546"/>
            <a:chExt cx="3374154" cy="3372812"/>
          </a:xfrm>
        </p:grpSpPr>
        <p:sp>
          <p:nvSpPr>
            <p:cNvPr id="8" name="Rectangle: Rounded Corners 7">
              <a:extLst>
                <a:ext uri="{FF2B5EF4-FFF2-40B4-BE49-F238E27FC236}">
                  <a16:creationId xmlns:a16="http://schemas.microsoft.com/office/drawing/2014/main" id="{37041487-4461-C7DC-D4CC-E6C5253AD55E}"/>
                </a:ext>
              </a:extLst>
            </p:cNvPr>
            <p:cNvSpPr/>
            <p:nvPr/>
          </p:nvSpPr>
          <p:spPr>
            <a:xfrm>
              <a:off x="4294809" y="1262546"/>
              <a:ext cx="3374154" cy="3372812"/>
            </a:xfrm>
            <a:prstGeom prst="roundRect">
              <a:avLst>
                <a:gd name="adj" fmla="val 6337"/>
              </a:avLst>
            </a:prstGeom>
            <a:solidFill>
              <a:schemeClr val="accent5">
                <a:lumMod val="20000"/>
                <a:lumOff val="80000"/>
                <a:alpha val="3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grpSp>
          <p:nvGrpSpPr>
            <p:cNvPr id="9" name="Group 8">
              <a:extLst>
                <a:ext uri="{FF2B5EF4-FFF2-40B4-BE49-F238E27FC236}">
                  <a16:creationId xmlns:a16="http://schemas.microsoft.com/office/drawing/2014/main" id="{4918A297-33D9-789E-404A-21F1EA3E9D42}"/>
                </a:ext>
              </a:extLst>
            </p:cNvPr>
            <p:cNvGrpSpPr/>
            <p:nvPr/>
          </p:nvGrpSpPr>
          <p:grpSpPr>
            <a:xfrm>
              <a:off x="4469418" y="3713987"/>
              <a:ext cx="3024937" cy="816495"/>
              <a:chOff x="4469417" y="3576397"/>
              <a:chExt cx="3024937" cy="816495"/>
            </a:xfrm>
          </p:grpSpPr>
          <p:grpSp>
            <p:nvGrpSpPr>
              <p:cNvPr id="1349" name="Group 1348">
                <a:extLst>
                  <a:ext uri="{FF2B5EF4-FFF2-40B4-BE49-F238E27FC236}">
                    <a16:creationId xmlns:a16="http://schemas.microsoft.com/office/drawing/2014/main" id="{4FD66B66-1166-A104-2194-2FD4FB2B8F9A}"/>
                  </a:ext>
                </a:extLst>
              </p:cNvPr>
              <p:cNvGrpSpPr/>
              <p:nvPr/>
            </p:nvGrpSpPr>
            <p:grpSpPr>
              <a:xfrm>
                <a:off x="4469417" y="3576397"/>
                <a:ext cx="1044000" cy="816495"/>
                <a:chOff x="4469417" y="3748868"/>
                <a:chExt cx="1044000" cy="816495"/>
              </a:xfrm>
            </p:grpSpPr>
            <p:grpSp>
              <p:nvGrpSpPr>
                <p:cNvPr id="1375" name="Group 1374">
                  <a:extLst>
                    <a:ext uri="{FF2B5EF4-FFF2-40B4-BE49-F238E27FC236}">
                      <a16:creationId xmlns:a16="http://schemas.microsoft.com/office/drawing/2014/main" id="{660B1221-7E7A-78D9-D4C0-B797EC34F2AA}"/>
                    </a:ext>
                  </a:extLst>
                </p:cNvPr>
                <p:cNvGrpSpPr/>
                <p:nvPr/>
              </p:nvGrpSpPr>
              <p:grpSpPr>
                <a:xfrm>
                  <a:off x="4782483" y="3748868"/>
                  <a:ext cx="417868" cy="418618"/>
                  <a:chOff x="4483722" y="4035163"/>
                  <a:chExt cx="713232" cy="714512"/>
                </a:xfrm>
              </p:grpSpPr>
              <p:sp>
                <p:nvSpPr>
                  <p:cNvPr id="1379" name="Text Placeholder 1">
                    <a:extLst>
                      <a:ext uri="{FF2B5EF4-FFF2-40B4-BE49-F238E27FC236}">
                        <a16:creationId xmlns:a16="http://schemas.microsoft.com/office/drawing/2014/main" id="{88E6A6CB-2FD8-21FD-72F9-BF0F7E654123}"/>
                      </a:ext>
                    </a:extLst>
                  </p:cNvPr>
                  <p:cNvSpPr txBox="1">
                    <a:spLocks/>
                  </p:cNvSpPr>
                  <p:nvPr/>
                </p:nvSpPr>
                <p:spPr>
                  <a:xfrm>
                    <a:off x="4483722" y="4035163"/>
                    <a:ext cx="713232" cy="714512"/>
                  </a:xfrm>
                  <a:prstGeom prst="ellipse">
                    <a:avLst/>
                  </a:prstGeom>
                  <a:solidFill>
                    <a:schemeClr val="accent5">
                      <a:lumMod val="20000"/>
                      <a:lumOff val="80000"/>
                    </a:schemeClr>
                  </a:solidFill>
                  <a:ln>
                    <a:noFill/>
                  </a:ln>
                </p:spPr>
                <p:txBody>
                  <a:bodyPr vert="horz" wrap="none" lIns="0" tIns="45720" rIns="0" bIns="45720" rtlCol="0" anchor="ctr">
                    <a:noAutofit/>
                  </a:bodyPr>
                  <a:lstStyle>
                    <a:lvl1pPr indent="0">
                      <a:lnSpc>
                        <a:spcPct val="90000"/>
                      </a:lnSpc>
                      <a:spcBef>
                        <a:spcPts val="0"/>
                      </a:spcBef>
                      <a:buFont typeface="Arial" panose="020B0604020202020204" pitchFamily="34" charset="0"/>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685800" indent="-228600">
                      <a:lnSpc>
                        <a:spcPct val="90000"/>
                      </a:lnSpc>
                      <a:spcBef>
                        <a:spcPts val="500"/>
                      </a:spcBef>
                      <a:buFont typeface="Arial" panose="020B0604020202020204" pitchFamily="34" charset="0"/>
                      <a:buNone/>
                      <a:defRPr sz="2400">
                        <a:solidFill>
                          <a:schemeClr val="bg1"/>
                        </a:solidFill>
                      </a:defRPr>
                    </a:lvl2pPr>
                    <a:lvl3pPr marL="1143000" indent="-228600">
                      <a:lnSpc>
                        <a:spcPct val="90000"/>
                      </a:lnSpc>
                      <a:spcBef>
                        <a:spcPts val="500"/>
                      </a:spcBef>
                      <a:buFont typeface="Arial" panose="020B0604020202020204" pitchFamily="34" charset="0"/>
                      <a:buNone/>
                      <a:defRPr sz="2000">
                        <a:solidFill>
                          <a:schemeClr val="bg1"/>
                        </a:solidFill>
                      </a:defRPr>
                    </a:lvl3pPr>
                    <a:lvl4pPr marL="1600200" indent="-228600">
                      <a:lnSpc>
                        <a:spcPct val="90000"/>
                      </a:lnSpc>
                      <a:spcBef>
                        <a:spcPts val="500"/>
                      </a:spcBef>
                      <a:buFont typeface="Arial" panose="020B0604020202020204" pitchFamily="34" charset="0"/>
                      <a:buNone/>
                      <a:defRPr>
                        <a:solidFill>
                          <a:schemeClr val="bg1"/>
                        </a:solidFill>
                      </a:defRPr>
                    </a:lvl4pPr>
                    <a:lvl5pPr marL="2057400" indent="-228600">
                      <a:lnSpc>
                        <a:spcPct val="90000"/>
                      </a:lnSpc>
                      <a:spcBef>
                        <a:spcPts val="500"/>
                      </a:spcBef>
                      <a:buFont typeface="Arial" panose="020B0604020202020204" pitchFamily="34" charset="0"/>
                      <a:buNone/>
                      <a:defRPr>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600" b="1" i="0" u="none" strike="noStrike" kern="1200" cap="none" spc="0" normalizeH="0" baseline="0" noProof="0">
                      <a:ln>
                        <a:noFill/>
                      </a:ln>
                      <a:solidFill>
                        <a:schemeClr val="accent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400" name="Group 1399">
                    <a:extLst>
                      <a:ext uri="{FF2B5EF4-FFF2-40B4-BE49-F238E27FC236}">
                        <a16:creationId xmlns:a16="http://schemas.microsoft.com/office/drawing/2014/main" id="{C17AE5BE-C8D6-0123-8BC2-FE581140A5B9}"/>
                      </a:ext>
                    </a:extLst>
                  </p:cNvPr>
                  <p:cNvGrpSpPr/>
                  <p:nvPr/>
                </p:nvGrpSpPr>
                <p:grpSpPr>
                  <a:xfrm>
                    <a:off x="4680586" y="4122147"/>
                    <a:ext cx="319504" cy="540544"/>
                    <a:chOff x="6006110" y="5194325"/>
                    <a:chExt cx="319504" cy="540544"/>
                  </a:xfrm>
                </p:grpSpPr>
                <p:sp>
                  <p:nvSpPr>
                    <p:cNvPr id="1402" name="Arrow: Up 1401">
                      <a:extLst>
                        <a:ext uri="{FF2B5EF4-FFF2-40B4-BE49-F238E27FC236}">
                          <a16:creationId xmlns:a16="http://schemas.microsoft.com/office/drawing/2014/main" id="{640E430C-AB81-EFA3-BE02-D532901105F1}"/>
                        </a:ext>
                      </a:extLst>
                    </p:cNvPr>
                    <p:cNvSpPr/>
                    <p:nvPr/>
                  </p:nvSpPr>
                  <p:spPr>
                    <a:xfrm>
                      <a:off x="6006110" y="5194325"/>
                      <a:ext cx="319504" cy="540544"/>
                    </a:xfrm>
                    <a:prstGeom prst="upArrow">
                      <a:avLst>
                        <a:gd name="adj1" fmla="val 53887"/>
                        <a:gd name="adj2" fmla="val 54535"/>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solidFill>
                          <a:schemeClr val="bg1"/>
                        </a:solidFill>
                      </a:endParaRPr>
                    </a:p>
                  </p:txBody>
                </p:sp>
                <p:pic>
                  <p:nvPicPr>
                    <p:cNvPr id="1410" name="Graphic 1409">
                      <a:extLst>
                        <a:ext uri="{FF2B5EF4-FFF2-40B4-BE49-F238E27FC236}">
                          <a16:creationId xmlns:a16="http://schemas.microsoft.com/office/drawing/2014/main" id="{5161EEE4-3B64-7DBD-B500-A34358902ADC}"/>
                        </a:ext>
                      </a:extLst>
                    </p:cNvPr>
                    <p:cNvPicPr>
                      <a:picLocks/>
                    </p:cNvPicPr>
                    <p:nvPr/>
                  </p:nvPicPr>
                  <p:blipFill>
                    <a:blip r:embed="rId7">
                      <a:extLst>
                        <a:ext uri="{96DAC541-7B7A-43D3-8B79-37D633B846F1}">
                          <asvg:svgBlip xmlns:asvg="http://schemas.microsoft.com/office/drawing/2016/SVG/main" r:embed="rId8"/>
                        </a:ext>
                      </a:extLst>
                    </a:blip>
                    <a:srcRect l="22946" t="22946" r="22946" b="22946"/>
                    <a:stretch/>
                  </p:blipFill>
                  <p:spPr>
                    <a:xfrm>
                      <a:off x="6071821" y="5373524"/>
                      <a:ext cx="188079" cy="188079"/>
                    </a:xfrm>
                    <a:prstGeom prst="rect">
                      <a:avLst/>
                    </a:prstGeom>
                  </p:spPr>
                </p:pic>
              </p:grpSp>
            </p:grpSp>
            <p:sp>
              <p:nvSpPr>
                <p:cNvPr id="1378" name="TextBox 1377">
                  <a:extLst>
                    <a:ext uri="{FF2B5EF4-FFF2-40B4-BE49-F238E27FC236}">
                      <a16:creationId xmlns:a16="http://schemas.microsoft.com/office/drawing/2014/main" id="{DDE3578F-260D-A557-68F8-66602E28D7EE}"/>
                    </a:ext>
                  </a:extLst>
                </p:cNvPr>
                <p:cNvSpPr txBox="1"/>
                <p:nvPr/>
              </p:nvSpPr>
              <p:spPr>
                <a:xfrm>
                  <a:off x="4469417" y="4196031"/>
                  <a:ext cx="1044000" cy="369332"/>
                </a:xfrm>
                <a:prstGeom prst="rect">
                  <a:avLst/>
                </a:prstGeom>
                <a:noFill/>
              </p:spPr>
              <p:txBody>
                <a:bodyPr wrap="square" lIns="91440" tIns="45720" rIns="91440" bIns="45720" anchor="t">
                  <a:spAutoFit/>
                </a:bodyPr>
                <a:lstStyle/>
                <a:p>
                  <a:pPr algn="ctr" defTabSz="457200">
                    <a:spcAft>
                      <a:spcPts val="600"/>
                    </a:spcAft>
                    <a:defRPr/>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Designed Test Cases</a:t>
                  </a:r>
                  <a:endParaRPr lang="en-US" sz="900" b="0" i="0" u="none" strike="noStrike" kern="1200" cap="none" spc="0" normalizeH="0" baseline="0">
                    <a:ln>
                      <a:noFill/>
                    </a:ln>
                    <a:solidFill>
                      <a:srgbClr val="0111A2"/>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grpSp>
            <p:nvGrpSpPr>
              <p:cNvPr id="1351" name="Group 1350">
                <a:extLst>
                  <a:ext uri="{FF2B5EF4-FFF2-40B4-BE49-F238E27FC236}">
                    <a16:creationId xmlns:a16="http://schemas.microsoft.com/office/drawing/2014/main" id="{2AC7F5D6-65B7-37AA-E041-8371C738107B}"/>
                  </a:ext>
                </a:extLst>
              </p:cNvPr>
              <p:cNvGrpSpPr/>
              <p:nvPr/>
            </p:nvGrpSpPr>
            <p:grpSpPr>
              <a:xfrm>
                <a:off x="5550074" y="3576397"/>
                <a:ext cx="863624" cy="816495"/>
                <a:chOff x="5550074" y="3748868"/>
                <a:chExt cx="863624" cy="816495"/>
              </a:xfrm>
            </p:grpSpPr>
            <p:grpSp>
              <p:nvGrpSpPr>
                <p:cNvPr id="1367" name="Group 1366">
                  <a:extLst>
                    <a:ext uri="{FF2B5EF4-FFF2-40B4-BE49-F238E27FC236}">
                      <a16:creationId xmlns:a16="http://schemas.microsoft.com/office/drawing/2014/main" id="{95EC644B-F6A7-C360-BE05-18F44FEAAC83}"/>
                    </a:ext>
                  </a:extLst>
                </p:cNvPr>
                <p:cNvGrpSpPr/>
                <p:nvPr/>
              </p:nvGrpSpPr>
              <p:grpSpPr>
                <a:xfrm>
                  <a:off x="5772952" y="3748868"/>
                  <a:ext cx="417868" cy="418618"/>
                  <a:chOff x="5564018" y="3774934"/>
                  <a:chExt cx="417868" cy="418618"/>
                </a:xfrm>
              </p:grpSpPr>
              <p:sp>
                <p:nvSpPr>
                  <p:cNvPr id="1371" name="Text Placeholder 1">
                    <a:extLst>
                      <a:ext uri="{FF2B5EF4-FFF2-40B4-BE49-F238E27FC236}">
                        <a16:creationId xmlns:a16="http://schemas.microsoft.com/office/drawing/2014/main" id="{7BC7F8B0-E840-6CC7-9394-ABAFE2FE815F}"/>
                      </a:ext>
                    </a:extLst>
                  </p:cNvPr>
                  <p:cNvSpPr txBox="1">
                    <a:spLocks/>
                  </p:cNvSpPr>
                  <p:nvPr/>
                </p:nvSpPr>
                <p:spPr>
                  <a:xfrm>
                    <a:off x="5564018" y="3774934"/>
                    <a:ext cx="417868" cy="418618"/>
                  </a:xfrm>
                  <a:prstGeom prst="ellipse">
                    <a:avLst/>
                  </a:prstGeom>
                  <a:solidFill>
                    <a:schemeClr val="accent5">
                      <a:lumMod val="20000"/>
                      <a:lumOff val="80000"/>
                    </a:schemeClr>
                  </a:solidFill>
                  <a:ln>
                    <a:noFill/>
                  </a:ln>
                </p:spPr>
                <p:txBody>
                  <a:bodyPr vert="horz" wrap="none" lIns="0" tIns="45720" rIns="0" bIns="45720" rtlCol="0" anchor="ctr">
                    <a:noAutofit/>
                  </a:bodyPr>
                  <a:lstStyle>
                    <a:lvl1pPr indent="0">
                      <a:lnSpc>
                        <a:spcPct val="90000"/>
                      </a:lnSpc>
                      <a:spcBef>
                        <a:spcPts val="0"/>
                      </a:spcBef>
                      <a:buFont typeface="Arial" panose="020B0604020202020204" pitchFamily="34" charset="0"/>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685800" indent="-228600">
                      <a:lnSpc>
                        <a:spcPct val="90000"/>
                      </a:lnSpc>
                      <a:spcBef>
                        <a:spcPts val="500"/>
                      </a:spcBef>
                      <a:buFont typeface="Arial" panose="020B0604020202020204" pitchFamily="34" charset="0"/>
                      <a:buNone/>
                      <a:defRPr sz="2400">
                        <a:solidFill>
                          <a:schemeClr val="bg1"/>
                        </a:solidFill>
                      </a:defRPr>
                    </a:lvl2pPr>
                    <a:lvl3pPr marL="1143000" indent="-228600">
                      <a:lnSpc>
                        <a:spcPct val="90000"/>
                      </a:lnSpc>
                      <a:spcBef>
                        <a:spcPts val="500"/>
                      </a:spcBef>
                      <a:buFont typeface="Arial" panose="020B0604020202020204" pitchFamily="34" charset="0"/>
                      <a:buNone/>
                      <a:defRPr sz="2000">
                        <a:solidFill>
                          <a:schemeClr val="bg1"/>
                        </a:solidFill>
                      </a:defRPr>
                    </a:lvl3pPr>
                    <a:lvl4pPr marL="1600200" indent="-228600">
                      <a:lnSpc>
                        <a:spcPct val="90000"/>
                      </a:lnSpc>
                      <a:spcBef>
                        <a:spcPts val="500"/>
                      </a:spcBef>
                      <a:buFont typeface="Arial" panose="020B0604020202020204" pitchFamily="34" charset="0"/>
                      <a:buNone/>
                      <a:defRPr>
                        <a:solidFill>
                          <a:schemeClr val="bg1"/>
                        </a:solidFill>
                      </a:defRPr>
                    </a:lvl4pPr>
                    <a:lvl5pPr marL="2057400" indent="-228600">
                      <a:lnSpc>
                        <a:spcPct val="90000"/>
                      </a:lnSpc>
                      <a:spcBef>
                        <a:spcPts val="500"/>
                      </a:spcBef>
                      <a:buFont typeface="Arial" panose="020B0604020202020204" pitchFamily="34" charset="0"/>
                      <a:buNone/>
                      <a:defRPr>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600" b="1" i="0" u="none" strike="noStrike" kern="1200" cap="none" spc="0" normalizeH="0" baseline="0" noProof="0">
                      <a:ln>
                        <a:noFill/>
                      </a:ln>
                      <a:solidFill>
                        <a:schemeClr val="accent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372" name="Group 1371">
                    <a:extLst>
                      <a:ext uri="{FF2B5EF4-FFF2-40B4-BE49-F238E27FC236}">
                        <a16:creationId xmlns:a16="http://schemas.microsoft.com/office/drawing/2014/main" id="{57FDDF54-92AB-D0FD-A73C-03C3CE72345F}"/>
                      </a:ext>
                    </a:extLst>
                  </p:cNvPr>
                  <p:cNvGrpSpPr/>
                  <p:nvPr/>
                </p:nvGrpSpPr>
                <p:grpSpPr>
                  <a:xfrm>
                    <a:off x="5679357" y="3825896"/>
                    <a:ext cx="187191" cy="316694"/>
                    <a:chOff x="6006110" y="5194320"/>
                    <a:chExt cx="319504" cy="540544"/>
                  </a:xfrm>
                </p:grpSpPr>
                <p:sp>
                  <p:nvSpPr>
                    <p:cNvPr id="1373" name="Arrow: Up 1372">
                      <a:extLst>
                        <a:ext uri="{FF2B5EF4-FFF2-40B4-BE49-F238E27FC236}">
                          <a16:creationId xmlns:a16="http://schemas.microsoft.com/office/drawing/2014/main" id="{E45018F9-77B1-49DB-C6BC-14E0A4537BF6}"/>
                        </a:ext>
                      </a:extLst>
                    </p:cNvPr>
                    <p:cNvSpPr/>
                    <p:nvPr/>
                  </p:nvSpPr>
                  <p:spPr>
                    <a:xfrm>
                      <a:off x="6006110" y="5194320"/>
                      <a:ext cx="319504" cy="540544"/>
                    </a:xfrm>
                    <a:prstGeom prst="upArrow">
                      <a:avLst>
                        <a:gd name="adj1" fmla="val 53887"/>
                        <a:gd name="adj2" fmla="val 54535"/>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solidFill>
                          <a:schemeClr val="bg1"/>
                        </a:solidFill>
                      </a:endParaRPr>
                    </a:p>
                  </p:txBody>
                </p:sp>
                <p:pic>
                  <p:nvPicPr>
                    <p:cNvPr id="1374" name="Graphic 1373">
                      <a:extLst>
                        <a:ext uri="{FF2B5EF4-FFF2-40B4-BE49-F238E27FC236}">
                          <a16:creationId xmlns:a16="http://schemas.microsoft.com/office/drawing/2014/main" id="{5CC7A01E-E2FB-ED82-1F04-27DD371F17A4}"/>
                        </a:ext>
                      </a:extLst>
                    </p:cNvPr>
                    <p:cNvPicPr>
                      <a:picLocks/>
                    </p:cNvPicPr>
                    <p:nvPr/>
                  </p:nvPicPr>
                  <p:blipFill>
                    <a:blip r:embed="rId7">
                      <a:extLst>
                        <a:ext uri="{96DAC541-7B7A-43D3-8B79-37D633B846F1}">
                          <asvg:svgBlip xmlns:asvg="http://schemas.microsoft.com/office/drawing/2016/SVG/main" r:embed="rId8"/>
                        </a:ext>
                      </a:extLst>
                    </a:blip>
                    <a:srcRect l="22946" t="22946" r="22946" b="22946"/>
                    <a:stretch/>
                  </p:blipFill>
                  <p:spPr>
                    <a:xfrm>
                      <a:off x="6071821" y="5373519"/>
                      <a:ext cx="188079" cy="188079"/>
                    </a:xfrm>
                    <a:prstGeom prst="rect">
                      <a:avLst/>
                    </a:prstGeom>
                  </p:spPr>
                </p:pic>
              </p:grpSp>
            </p:grpSp>
            <p:sp>
              <p:nvSpPr>
                <p:cNvPr id="1368" name="TextBox 1367">
                  <a:extLst>
                    <a:ext uri="{FF2B5EF4-FFF2-40B4-BE49-F238E27FC236}">
                      <a16:creationId xmlns:a16="http://schemas.microsoft.com/office/drawing/2014/main" id="{9DE255DC-4ADE-8964-53BA-D4DFEFB66BFB}"/>
                    </a:ext>
                  </a:extLst>
                </p:cNvPr>
                <p:cNvSpPr txBox="1"/>
                <p:nvPr/>
              </p:nvSpPr>
              <p:spPr>
                <a:xfrm>
                  <a:off x="5550074" y="4196031"/>
                  <a:ext cx="863624" cy="369332"/>
                </a:xfrm>
                <a:prstGeom prst="rect">
                  <a:avLst/>
                </a:prstGeom>
                <a:noFill/>
              </p:spPr>
              <p:txBody>
                <a:bodyPr wrap="square" lIns="0" tIns="45720" rIns="0" bIns="45720" anchor="t">
                  <a:spAutoFit/>
                </a:bodyPr>
                <a:lstStyle/>
                <a:p>
                  <a:pPr algn="ctr" defTabSz="457200">
                    <a:spcAft>
                      <a:spcPts val="600"/>
                    </a:spcAft>
                    <a:defRPr/>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Defects Found  in QA</a:t>
                  </a:r>
                  <a:endParaRPr lang="en-US" sz="900" b="0" i="0" u="none" strike="noStrike" kern="1200" cap="none" spc="0" normalizeH="0" baseline="0">
                    <a:ln>
                      <a:noFill/>
                    </a:ln>
                    <a:solidFill>
                      <a:srgbClr val="0111A2"/>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grpSp>
            <p:nvGrpSpPr>
              <p:cNvPr id="1352" name="Group 1351">
                <a:extLst>
                  <a:ext uri="{FF2B5EF4-FFF2-40B4-BE49-F238E27FC236}">
                    <a16:creationId xmlns:a16="http://schemas.microsoft.com/office/drawing/2014/main" id="{0032C898-FCF9-A0D5-C02D-71FA0F56098D}"/>
                  </a:ext>
                </a:extLst>
              </p:cNvPr>
              <p:cNvGrpSpPr/>
              <p:nvPr/>
            </p:nvGrpSpPr>
            <p:grpSpPr>
              <a:xfrm>
                <a:off x="6450354" y="3576397"/>
                <a:ext cx="1044000" cy="816495"/>
                <a:chOff x="6450354" y="3748868"/>
                <a:chExt cx="1044000" cy="816495"/>
              </a:xfrm>
            </p:grpSpPr>
            <p:grpSp>
              <p:nvGrpSpPr>
                <p:cNvPr id="1353" name="Group 1352">
                  <a:extLst>
                    <a:ext uri="{FF2B5EF4-FFF2-40B4-BE49-F238E27FC236}">
                      <a16:creationId xmlns:a16="http://schemas.microsoft.com/office/drawing/2014/main" id="{08034D79-7D36-7C9D-3A31-28B983A54F7D}"/>
                    </a:ext>
                  </a:extLst>
                </p:cNvPr>
                <p:cNvGrpSpPr/>
                <p:nvPr/>
              </p:nvGrpSpPr>
              <p:grpSpPr>
                <a:xfrm>
                  <a:off x="6763420" y="3748868"/>
                  <a:ext cx="417868" cy="418618"/>
                  <a:chOff x="6744002" y="3774934"/>
                  <a:chExt cx="417868" cy="418618"/>
                </a:xfrm>
              </p:grpSpPr>
              <p:sp>
                <p:nvSpPr>
                  <p:cNvPr id="1357" name="Text Placeholder 1">
                    <a:extLst>
                      <a:ext uri="{FF2B5EF4-FFF2-40B4-BE49-F238E27FC236}">
                        <a16:creationId xmlns:a16="http://schemas.microsoft.com/office/drawing/2014/main" id="{3F67C987-E8AF-BE31-53B6-9C4E22FBED03}"/>
                      </a:ext>
                    </a:extLst>
                  </p:cNvPr>
                  <p:cNvSpPr txBox="1">
                    <a:spLocks/>
                  </p:cNvSpPr>
                  <p:nvPr/>
                </p:nvSpPr>
                <p:spPr>
                  <a:xfrm>
                    <a:off x="6744002" y="3774934"/>
                    <a:ext cx="417868" cy="418618"/>
                  </a:xfrm>
                  <a:prstGeom prst="ellipse">
                    <a:avLst/>
                  </a:prstGeom>
                  <a:solidFill>
                    <a:schemeClr val="accent5">
                      <a:lumMod val="20000"/>
                      <a:lumOff val="80000"/>
                    </a:schemeClr>
                  </a:solidFill>
                  <a:ln>
                    <a:noFill/>
                  </a:ln>
                </p:spPr>
                <p:txBody>
                  <a:bodyPr vert="horz" wrap="none" lIns="0" tIns="45720" rIns="0" bIns="45720" rtlCol="0" anchor="ctr">
                    <a:noAutofit/>
                  </a:bodyPr>
                  <a:lstStyle>
                    <a:lvl1pPr indent="0">
                      <a:lnSpc>
                        <a:spcPct val="90000"/>
                      </a:lnSpc>
                      <a:spcBef>
                        <a:spcPts val="0"/>
                      </a:spcBef>
                      <a:buFont typeface="Arial" panose="020B0604020202020204" pitchFamily="34" charset="0"/>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685800" indent="-228600">
                      <a:lnSpc>
                        <a:spcPct val="90000"/>
                      </a:lnSpc>
                      <a:spcBef>
                        <a:spcPts val="500"/>
                      </a:spcBef>
                      <a:buFont typeface="Arial" panose="020B0604020202020204" pitchFamily="34" charset="0"/>
                      <a:buNone/>
                      <a:defRPr sz="2400">
                        <a:solidFill>
                          <a:schemeClr val="bg1"/>
                        </a:solidFill>
                      </a:defRPr>
                    </a:lvl2pPr>
                    <a:lvl3pPr marL="1143000" indent="-228600">
                      <a:lnSpc>
                        <a:spcPct val="90000"/>
                      </a:lnSpc>
                      <a:spcBef>
                        <a:spcPts val="500"/>
                      </a:spcBef>
                      <a:buFont typeface="Arial" panose="020B0604020202020204" pitchFamily="34" charset="0"/>
                      <a:buNone/>
                      <a:defRPr sz="2000">
                        <a:solidFill>
                          <a:schemeClr val="bg1"/>
                        </a:solidFill>
                      </a:defRPr>
                    </a:lvl3pPr>
                    <a:lvl4pPr marL="1600200" indent="-228600">
                      <a:lnSpc>
                        <a:spcPct val="90000"/>
                      </a:lnSpc>
                      <a:spcBef>
                        <a:spcPts val="500"/>
                      </a:spcBef>
                      <a:buFont typeface="Arial" panose="020B0604020202020204" pitchFamily="34" charset="0"/>
                      <a:buNone/>
                      <a:defRPr>
                        <a:solidFill>
                          <a:schemeClr val="bg1"/>
                        </a:solidFill>
                      </a:defRPr>
                    </a:lvl4pPr>
                    <a:lvl5pPr marL="2057400" indent="-228600">
                      <a:lnSpc>
                        <a:spcPct val="90000"/>
                      </a:lnSpc>
                      <a:spcBef>
                        <a:spcPts val="500"/>
                      </a:spcBef>
                      <a:buFont typeface="Arial" panose="020B0604020202020204" pitchFamily="34" charset="0"/>
                      <a:buNone/>
                      <a:defRPr>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600" b="1" i="0" u="none" strike="noStrike" kern="1200" cap="none" spc="0" normalizeH="0" baseline="0" noProof="0">
                      <a:ln>
                        <a:noFill/>
                      </a:ln>
                      <a:solidFill>
                        <a:schemeClr val="accent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362" name="Group 1361">
                    <a:extLst>
                      <a:ext uri="{FF2B5EF4-FFF2-40B4-BE49-F238E27FC236}">
                        <a16:creationId xmlns:a16="http://schemas.microsoft.com/office/drawing/2014/main" id="{AD8B5EFA-2C84-C335-451E-818EA3A7DD1F}"/>
                      </a:ext>
                    </a:extLst>
                  </p:cNvPr>
                  <p:cNvGrpSpPr/>
                  <p:nvPr/>
                </p:nvGrpSpPr>
                <p:grpSpPr>
                  <a:xfrm>
                    <a:off x="6859341" y="3825896"/>
                    <a:ext cx="187191" cy="316694"/>
                    <a:chOff x="7097796" y="5194322"/>
                    <a:chExt cx="319504" cy="540544"/>
                  </a:xfrm>
                </p:grpSpPr>
                <p:sp>
                  <p:nvSpPr>
                    <p:cNvPr id="1363" name="Arrow: Up 1362">
                      <a:extLst>
                        <a:ext uri="{FF2B5EF4-FFF2-40B4-BE49-F238E27FC236}">
                          <a16:creationId xmlns:a16="http://schemas.microsoft.com/office/drawing/2014/main" id="{ABA4CECE-28DB-F388-A7E3-572F6CC991FB}"/>
                        </a:ext>
                      </a:extLst>
                    </p:cNvPr>
                    <p:cNvSpPr/>
                    <p:nvPr/>
                  </p:nvSpPr>
                  <p:spPr>
                    <a:xfrm rot="10800000">
                      <a:off x="7097796" y="5194322"/>
                      <a:ext cx="319504" cy="540544"/>
                    </a:xfrm>
                    <a:prstGeom prst="upArrow">
                      <a:avLst>
                        <a:gd name="adj1" fmla="val 53887"/>
                        <a:gd name="adj2" fmla="val 54535"/>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solidFill>
                          <a:schemeClr val="bg1"/>
                        </a:solidFill>
                      </a:endParaRPr>
                    </a:p>
                  </p:txBody>
                </p:sp>
                <p:sp>
                  <p:nvSpPr>
                    <p:cNvPr id="1364" name="Rectangle 1363">
                      <a:extLst>
                        <a:ext uri="{FF2B5EF4-FFF2-40B4-BE49-F238E27FC236}">
                          <a16:creationId xmlns:a16="http://schemas.microsoft.com/office/drawing/2014/main" id="{113B8120-581C-E5F8-C20D-A6C359215DBC}"/>
                        </a:ext>
                      </a:extLst>
                    </p:cNvPr>
                    <p:cNvSpPr/>
                    <p:nvPr/>
                  </p:nvSpPr>
                  <p:spPr>
                    <a:xfrm>
                      <a:off x="7192822" y="5451361"/>
                      <a:ext cx="129450" cy="324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grpSp>
            </p:grpSp>
            <p:sp>
              <p:nvSpPr>
                <p:cNvPr id="1354" name="TextBox 1353">
                  <a:extLst>
                    <a:ext uri="{FF2B5EF4-FFF2-40B4-BE49-F238E27FC236}">
                      <a16:creationId xmlns:a16="http://schemas.microsoft.com/office/drawing/2014/main" id="{9F9F4523-10B6-2E5E-4A01-A37607A3A1A4}"/>
                    </a:ext>
                  </a:extLst>
                </p:cNvPr>
                <p:cNvSpPr txBox="1"/>
                <p:nvPr/>
              </p:nvSpPr>
              <p:spPr>
                <a:xfrm>
                  <a:off x="6450354" y="4196031"/>
                  <a:ext cx="1044000" cy="369332"/>
                </a:xfrm>
                <a:prstGeom prst="rect">
                  <a:avLst/>
                </a:prstGeom>
                <a:noFill/>
              </p:spPr>
              <p:txBody>
                <a:bodyPr wrap="square" lIns="91440" tIns="45720" rIns="91440" bIns="45720" anchor="t">
                  <a:spAutoFit/>
                </a:bodyPr>
                <a:lstStyle/>
                <a:p>
                  <a:pPr algn="ctr" defTabSz="457200">
                    <a:spcAft>
                      <a:spcPts val="600"/>
                    </a:spcAft>
                    <a:defRPr/>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Defects in Production</a:t>
                  </a:r>
                  <a:endParaRPr lang="en-US" sz="900" b="0" i="0" u="none" strike="noStrike" kern="1200" cap="none" spc="0" normalizeH="0" baseline="0" noProof="0">
                    <a:ln>
                      <a:noFill/>
                    </a:ln>
                    <a:solidFill>
                      <a:srgbClr val="0111A2"/>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grpSp>
        <p:grpSp>
          <p:nvGrpSpPr>
            <p:cNvPr id="13" name="Group 12">
              <a:extLst>
                <a:ext uri="{FF2B5EF4-FFF2-40B4-BE49-F238E27FC236}">
                  <a16:creationId xmlns:a16="http://schemas.microsoft.com/office/drawing/2014/main" id="{4C7610FD-5B71-0309-025A-F49E8B09148C}"/>
                </a:ext>
              </a:extLst>
            </p:cNvPr>
            <p:cNvGrpSpPr/>
            <p:nvPr/>
          </p:nvGrpSpPr>
          <p:grpSpPr>
            <a:xfrm>
              <a:off x="4461764" y="1699845"/>
              <a:ext cx="3040244" cy="904931"/>
              <a:chOff x="4461764" y="2133664"/>
              <a:chExt cx="3040244" cy="904931"/>
            </a:xfrm>
          </p:grpSpPr>
          <p:grpSp>
            <p:nvGrpSpPr>
              <p:cNvPr id="19" name="Group 18">
                <a:extLst>
                  <a:ext uri="{FF2B5EF4-FFF2-40B4-BE49-F238E27FC236}">
                    <a16:creationId xmlns:a16="http://schemas.microsoft.com/office/drawing/2014/main" id="{59F4E0C7-E9FF-1399-6A62-0904B946FD0D}"/>
                  </a:ext>
                </a:extLst>
              </p:cNvPr>
              <p:cNvGrpSpPr/>
              <p:nvPr/>
            </p:nvGrpSpPr>
            <p:grpSpPr>
              <a:xfrm>
                <a:off x="4461764" y="2133664"/>
                <a:ext cx="1059307" cy="766431"/>
                <a:chOff x="4461764" y="1698476"/>
                <a:chExt cx="1059307" cy="766431"/>
              </a:xfrm>
            </p:grpSpPr>
            <p:pic>
              <p:nvPicPr>
                <p:cNvPr id="1344" name="Graphic 1343" descr="Boardroom outline">
                  <a:extLst>
                    <a:ext uri="{FF2B5EF4-FFF2-40B4-BE49-F238E27FC236}">
                      <a16:creationId xmlns:a16="http://schemas.microsoft.com/office/drawing/2014/main" id="{CC27907B-91CE-902F-5699-556B19DD40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17465" y="1698476"/>
                  <a:ext cx="591245" cy="591245"/>
                </a:xfrm>
                <a:prstGeom prst="rect">
                  <a:avLst/>
                </a:prstGeom>
              </p:spPr>
            </p:pic>
            <p:sp>
              <p:nvSpPr>
                <p:cNvPr id="1345" name="TextBox 1344">
                  <a:extLst>
                    <a:ext uri="{FF2B5EF4-FFF2-40B4-BE49-F238E27FC236}">
                      <a16:creationId xmlns:a16="http://schemas.microsoft.com/office/drawing/2014/main" id="{77F35BD7-E0CE-34FB-3449-BB73642C4F3E}"/>
                    </a:ext>
                  </a:extLst>
                </p:cNvPr>
                <p:cNvSpPr txBox="1"/>
                <p:nvPr/>
              </p:nvSpPr>
              <p:spPr>
                <a:xfrm>
                  <a:off x="4461764" y="2234075"/>
                  <a:ext cx="1059307" cy="230832"/>
                </a:xfrm>
                <a:prstGeom prst="rect">
                  <a:avLst/>
                </a:prstGeom>
                <a:noFill/>
              </p:spPr>
              <p:txBody>
                <a:bodyPr wrap="square" lIns="91440" tIns="45720" rIns="91440" bIns="45720" anchor="t">
                  <a:spAutoFit/>
                </a:bodyPr>
                <a:lstStyle/>
                <a:p>
                  <a:pPr algn="ctr" defTabSz="457200">
                    <a:spcAft>
                      <a:spcPts val="600"/>
                    </a:spcAft>
                    <a:defRPr/>
                  </a:pPr>
                  <a:r>
                    <a:rPr lang="en-US" sz="900">
                      <a:solidFill>
                        <a:srgbClr val="0111A2"/>
                      </a:solidFill>
                      <a:latin typeface="Open Sans" panose="020B0606030504020204" pitchFamily="34" charset="0"/>
                      <a:ea typeface="Open Sans" panose="020B0606030504020204" pitchFamily="34" charset="0"/>
                      <a:cs typeface="Open Sans" panose="020B0606030504020204" pitchFamily="34" charset="0"/>
                    </a:rPr>
                    <a:t>Tech Lead</a:t>
                  </a:r>
                  <a:endParaRPr lang="en-US" sz="900" b="0" i="0" u="none" strike="noStrike" kern="1200" cap="none" spc="0" normalizeH="0" baseline="0">
                    <a:ln>
                      <a:noFill/>
                    </a:ln>
                    <a:solidFill>
                      <a:srgbClr val="0111A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DA9ABC45-9829-D2BE-7414-2ECD64B85C33}"/>
                  </a:ext>
                </a:extLst>
              </p:cNvPr>
              <p:cNvGrpSpPr/>
              <p:nvPr/>
            </p:nvGrpSpPr>
            <p:grpSpPr>
              <a:xfrm>
                <a:off x="5452233" y="2178718"/>
                <a:ext cx="1059307" cy="721377"/>
                <a:chOff x="5452233" y="1743530"/>
                <a:chExt cx="1059307" cy="721377"/>
              </a:xfrm>
            </p:grpSpPr>
            <p:pic>
              <p:nvPicPr>
                <p:cNvPr id="59" name="Graphic 58" descr="Customer review outline">
                  <a:extLst>
                    <a:ext uri="{FF2B5EF4-FFF2-40B4-BE49-F238E27FC236}">
                      <a16:creationId xmlns:a16="http://schemas.microsoft.com/office/drawing/2014/main" id="{8B9D423F-F1D2-1576-3F50-31DDBEF6483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53644" y="1743530"/>
                  <a:ext cx="501136" cy="501136"/>
                </a:xfrm>
                <a:prstGeom prst="rect">
                  <a:avLst/>
                </a:prstGeom>
              </p:spPr>
            </p:pic>
            <p:sp>
              <p:nvSpPr>
                <p:cNvPr id="63" name="TextBox 62">
                  <a:extLst>
                    <a:ext uri="{FF2B5EF4-FFF2-40B4-BE49-F238E27FC236}">
                      <a16:creationId xmlns:a16="http://schemas.microsoft.com/office/drawing/2014/main" id="{6DC85053-4D95-9E10-2A69-FC6DA110D3F5}"/>
                    </a:ext>
                  </a:extLst>
                </p:cNvPr>
                <p:cNvSpPr txBox="1"/>
                <p:nvPr/>
              </p:nvSpPr>
              <p:spPr>
                <a:xfrm>
                  <a:off x="5452233" y="2234075"/>
                  <a:ext cx="1059307" cy="230832"/>
                </a:xfrm>
                <a:prstGeom prst="rect">
                  <a:avLst/>
                </a:prstGeom>
                <a:noFill/>
              </p:spPr>
              <p:txBody>
                <a:bodyPr wrap="square" lIns="91440" tIns="45720" rIns="91440" bIns="45720" anchor="t">
                  <a:spAutoFit/>
                </a:bodyPr>
                <a:lstStyle/>
                <a:p>
                  <a:pPr algn="ctr" defTabSz="457200">
                    <a:spcAft>
                      <a:spcPts val="600"/>
                    </a:spcAft>
                    <a:defRPr/>
                  </a:pPr>
                  <a:r>
                    <a:rPr lang="en-US" sz="900">
                      <a:solidFill>
                        <a:srgbClr val="0111A2"/>
                      </a:solidFill>
                      <a:latin typeface="Open Sans" panose="020B0606030504020204" pitchFamily="34" charset="0"/>
                      <a:ea typeface="Open Sans" panose="020B0606030504020204" pitchFamily="34" charset="0"/>
                      <a:cs typeface="Open Sans" panose="020B0606030504020204" pitchFamily="34" charset="0"/>
                    </a:rPr>
                    <a:t>SME</a:t>
                  </a:r>
                  <a:endParaRPr lang="en-US" sz="900" b="0" i="0" u="none" strike="noStrike" kern="1200" cap="none" spc="0" normalizeH="0" baseline="0">
                    <a:ln>
                      <a:noFill/>
                    </a:ln>
                    <a:solidFill>
                      <a:srgbClr val="0111A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 name="Group 20">
                <a:extLst>
                  <a:ext uri="{FF2B5EF4-FFF2-40B4-BE49-F238E27FC236}">
                    <a16:creationId xmlns:a16="http://schemas.microsoft.com/office/drawing/2014/main" id="{94479962-757E-5D34-348A-32CC5E1C08A5}"/>
                  </a:ext>
                </a:extLst>
              </p:cNvPr>
              <p:cNvGrpSpPr/>
              <p:nvPr/>
            </p:nvGrpSpPr>
            <p:grpSpPr>
              <a:xfrm>
                <a:off x="6442701" y="2183294"/>
                <a:ext cx="1059307" cy="855301"/>
                <a:chOff x="6442701" y="1748106"/>
                <a:chExt cx="1059307" cy="855301"/>
              </a:xfrm>
            </p:grpSpPr>
            <p:pic>
              <p:nvPicPr>
                <p:cNvPr id="38" name="Graphic 37" descr="Meeting outline">
                  <a:extLst>
                    <a:ext uri="{FF2B5EF4-FFF2-40B4-BE49-F238E27FC236}">
                      <a16:creationId xmlns:a16="http://schemas.microsoft.com/office/drawing/2014/main" id="{4C54B98A-0342-8F34-EC6D-98CA78BCF7B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53264" y="1748106"/>
                  <a:ext cx="491984" cy="491984"/>
                </a:xfrm>
                <a:prstGeom prst="rect">
                  <a:avLst/>
                </a:prstGeom>
              </p:spPr>
            </p:pic>
            <p:sp>
              <p:nvSpPr>
                <p:cNvPr id="50" name="TextBox 49">
                  <a:extLst>
                    <a:ext uri="{FF2B5EF4-FFF2-40B4-BE49-F238E27FC236}">
                      <a16:creationId xmlns:a16="http://schemas.microsoft.com/office/drawing/2014/main" id="{7E842A3C-458C-1DBD-EA16-C0F4629D5EC9}"/>
                    </a:ext>
                  </a:extLst>
                </p:cNvPr>
                <p:cNvSpPr txBox="1"/>
                <p:nvPr/>
              </p:nvSpPr>
              <p:spPr>
                <a:xfrm>
                  <a:off x="6442701" y="2234075"/>
                  <a:ext cx="1059307" cy="369332"/>
                </a:xfrm>
                <a:prstGeom prst="rect">
                  <a:avLst/>
                </a:prstGeom>
                <a:noFill/>
              </p:spPr>
              <p:txBody>
                <a:bodyPr wrap="square" lIns="0" tIns="45720" rIns="0" bIns="45720" anchor="t">
                  <a:spAutoFit/>
                </a:bodyPr>
                <a:lstStyle/>
                <a:p>
                  <a:pPr algn="ctr" defTabSz="457200">
                    <a:spcAft>
                      <a:spcPts val="600"/>
                    </a:spcAft>
                    <a:defRPr/>
                  </a:pPr>
                  <a:r>
                    <a:rPr lang="en-US" sz="900">
                      <a:solidFill>
                        <a:srgbClr val="0111A2"/>
                      </a:solidFill>
                      <a:latin typeface="Open Sans" panose="020B0606030504020204" pitchFamily="34" charset="0"/>
                      <a:ea typeface="Open Sans" panose="020B0606030504020204" pitchFamily="34" charset="0"/>
                      <a:cs typeface="Open Sans" panose="020B0606030504020204" pitchFamily="34" charset="0"/>
                    </a:rPr>
                    <a:t>Product + Development</a:t>
                  </a:r>
                  <a:endParaRPr lang="en-US" sz="900" b="0" i="0" u="none" strike="noStrike" kern="1200" cap="none" spc="0" normalizeH="0" baseline="0">
                    <a:ln>
                      <a:noFill/>
                    </a:ln>
                    <a:solidFill>
                      <a:srgbClr val="0111A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7" name="TextBox 16">
              <a:extLst>
                <a:ext uri="{FF2B5EF4-FFF2-40B4-BE49-F238E27FC236}">
                  <a16:creationId xmlns:a16="http://schemas.microsoft.com/office/drawing/2014/main" id="{A2F02531-8352-17A0-3354-4515BABB89A4}"/>
                </a:ext>
              </a:extLst>
            </p:cNvPr>
            <p:cNvSpPr txBox="1"/>
            <p:nvPr/>
          </p:nvSpPr>
          <p:spPr>
            <a:xfrm>
              <a:off x="4510698" y="1302689"/>
              <a:ext cx="2942377" cy="307777"/>
            </a:xfrm>
            <a:prstGeom prst="rect">
              <a:avLst/>
            </a:prstGeom>
            <a:noFill/>
          </p:spPr>
          <p:txBody>
            <a:bodyPr wrap="square" rtlCol="0">
              <a:spAutoFit/>
            </a:bodyPr>
            <a:lstStyle/>
            <a:p>
              <a:pPr algn="ctr"/>
              <a:r>
                <a:rPr lang="es-MX" sz="14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Stratis Deep </a:t>
              </a:r>
              <a:r>
                <a:rPr lang="es-MX" sz="1400" err="1">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Design</a:t>
              </a:r>
              <a:endParaRPr lang="es-MX" sz="14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8" name="TextBox 17">
              <a:extLst>
                <a:ext uri="{FF2B5EF4-FFF2-40B4-BE49-F238E27FC236}">
                  <a16:creationId xmlns:a16="http://schemas.microsoft.com/office/drawing/2014/main" id="{3E07A375-C385-3279-5BCD-1015E7C629B2}"/>
                </a:ext>
              </a:extLst>
            </p:cNvPr>
            <p:cNvSpPr txBox="1"/>
            <p:nvPr/>
          </p:nvSpPr>
          <p:spPr>
            <a:xfrm>
              <a:off x="5120013" y="2681138"/>
              <a:ext cx="1723747" cy="877163"/>
            </a:xfrm>
            <a:prstGeom prst="rect">
              <a:avLst/>
            </a:prstGeom>
            <a:noFill/>
          </p:spPr>
          <p:txBody>
            <a:bodyPr wrap="square" rtlCol="0">
              <a:spAutoFit/>
            </a:bodyPr>
            <a:lstStyle/>
            <a:p>
              <a:pPr>
                <a:spcBef>
                  <a:spcPts val="300"/>
                </a:spcBef>
                <a:spcAft>
                  <a:spcPts val="300"/>
                </a:spcAft>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Staggered Review</a:t>
              </a:r>
            </a:p>
            <a:p>
              <a:pPr marL="252000" indent="-144000">
                <a:spcBef>
                  <a:spcPts val="300"/>
                </a:spcBef>
                <a:spcAft>
                  <a:spcPts val="300"/>
                </a:spcAft>
                <a:buFont typeface="Wingdings" panose="05000000000000000000" pitchFamily="2" charset="2"/>
                <a:buChar char="ü"/>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TC structure audit</a:t>
              </a:r>
            </a:p>
            <a:p>
              <a:pPr marL="252000" indent="-144000">
                <a:spcBef>
                  <a:spcPts val="300"/>
                </a:spcBef>
                <a:spcAft>
                  <a:spcPts val="300"/>
                </a:spcAft>
                <a:buFont typeface="Wingdings" panose="05000000000000000000" pitchFamily="2" charset="2"/>
                <a:buChar char="ü"/>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Full Coverage</a:t>
              </a:r>
            </a:p>
            <a:p>
              <a:pPr marL="252000" indent="-144000">
                <a:spcBef>
                  <a:spcPts val="300"/>
                </a:spcBef>
                <a:spcAft>
                  <a:spcPts val="300"/>
                </a:spcAft>
                <a:buFont typeface="Wingdings" panose="05000000000000000000" pitchFamily="2" charset="2"/>
                <a:buChar char="ü"/>
              </a:pPr>
              <a:r>
                <a:rPr lang="en-US" sz="900">
                  <a:solidFill>
                    <a:srgbClr val="0111A2"/>
                  </a:solidFill>
                  <a:latin typeface="Open Sans SemiBold" panose="020B0706030804020204" pitchFamily="34" charset="0"/>
                  <a:ea typeface="Open Sans SemiBold" panose="020B0706030804020204" pitchFamily="34" charset="0"/>
                  <a:cs typeface="Open Sans SemiBold" panose="020B0706030804020204" pitchFamily="34" charset="0"/>
                </a:rPr>
                <a:t>Feedback and approval</a:t>
              </a:r>
            </a:p>
          </p:txBody>
        </p:sp>
      </p:grpSp>
      <p:grpSp>
        <p:nvGrpSpPr>
          <p:cNvPr id="1416" name="Group 1415">
            <a:extLst>
              <a:ext uri="{FF2B5EF4-FFF2-40B4-BE49-F238E27FC236}">
                <a16:creationId xmlns:a16="http://schemas.microsoft.com/office/drawing/2014/main" id="{4F8EB6FC-3C40-6A10-1023-B59E6C46569B}"/>
              </a:ext>
            </a:extLst>
          </p:cNvPr>
          <p:cNvGrpSpPr/>
          <p:nvPr/>
        </p:nvGrpSpPr>
        <p:grpSpPr>
          <a:xfrm>
            <a:off x="3052368" y="5721837"/>
            <a:ext cx="8150304" cy="523897"/>
            <a:chOff x="2149499" y="4952711"/>
            <a:chExt cx="8150304" cy="523897"/>
          </a:xfrm>
        </p:grpSpPr>
        <p:grpSp>
          <p:nvGrpSpPr>
            <p:cNvPr id="1417" name="Group 1416">
              <a:extLst>
                <a:ext uri="{FF2B5EF4-FFF2-40B4-BE49-F238E27FC236}">
                  <a16:creationId xmlns:a16="http://schemas.microsoft.com/office/drawing/2014/main" id="{5F6E64B4-5C2E-304E-14C8-95BE3185B367}"/>
                </a:ext>
              </a:extLst>
            </p:cNvPr>
            <p:cNvGrpSpPr/>
            <p:nvPr/>
          </p:nvGrpSpPr>
          <p:grpSpPr>
            <a:xfrm>
              <a:off x="2149499" y="4952711"/>
              <a:ext cx="2704220" cy="523897"/>
              <a:chOff x="2395032" y="4952711"/>
              <a:chExt cx="2704220" cy="523897"/>
            </a:xfrm>
          </p:grpSpPr>
          <p:sp>
            <p:nvSpPr>
              <p:cNvPr id="1437" name="TextBox 1436">
                <a:extLst>
                  <a:ext uri="{FF2B5EF4-FFF2-40B4-BE49-F238E27FC236}">
                    <a16:creationId xmlns:a16="http://schemas.microsoft.com/office/drawing/2014/main" id="{6FF42C44-BD7D-80CC-EDEF-FD6A65F5816C}"/>
                  </a:ext>
                </a:extLst>
              </p:cNvPr>
              <p:cNvSpPr txBox="1"/>
              <p:nvPr/>
            </p:nvSpPr>
            <p:spPr>
              <a:xfrm>
                <a:off x="3059756" y="4983827"/>
                <a:ext cx="2039496" cy="46166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lang="en-US" sz="12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Better </a:t>
                </a:r>
                <a:r>
                  <a:rPr kumimoji="0" lang="en-US" sz="1200" b="0" i="0" u="none" strike="noStrike" kern="1200" cap="none" spc="0" normalizeH="0" baseline="0" noProof="0">
                    <a:ln>
                      <a:noFill/>
                    </a:ln>
                    <a:solidFill>
                      <a:srgbClr val="F86F35"/>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reputation via fewer defects</a:t>
                </a:r>
                <a:endParaRPr kumimoji="0" lang="es-MX" sz="1200" b="0" i="0" u="none" strike="noStrike" kern="1200" cap="none" spc="0" normalizeH="0" baseline="0" noProof="0">
                  <a:ln>
                    <a:noFill/>
                  </a:ln>
                  <a:solidFill>
                    <a:srgbClr val="F86F35"/>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1438" name="Group 1437">
                <a:extLst>
                  <a:ext uri="{FF2B5EF4-FFF2-40B4-BE49-F238E27FC236}">
                    <a16:creationId xmlns:a16="http://schemas.microsoft.com/office/drawing/2014/main" id="{FD204242-E8AB-1B05-1FE2-A1A622B7A7C8}"/>
                  </a:ext>
                </a:extLst>
              </p:cNvPr>
              <p:cNvGrpSpPr/>
              <p:nvPr/>
            </p:nvGrpSpPr>
            <p:grpSpPr>
              <a:xfrm>
                <a:off x="2395032" y="4952711"/>
                <a:ext cx="522958" cy="523897"/>
                <a:chOff x="2393079" y="4921744"/>
                <a:chExt cx="522958" cy="523897"/>
              </a:xfrm>
            </p:grpSpPr>
            <p:sp>
              <p:nvSpPr>
                <p:cNvPr id="1440" name="Text Placeholder 1">
                  <a:extLst>
                    <a:ext uri="{FF2B5EF4-FFF2-40B4-BE49-F238E27FC236}">
                      <a16:creationId xmlns:a16="http://schemas.microsoft.com/office/drawing/2014/main" id="{EB521829-4689-F3A3-EAE4-24BB2911C86D}"/>
                    </a:ext>
                  </a:extLst>
                </p:cNvPr>
                <p:cNvSpPr txBox="1">
                  <a:spLocks/>
                </p:cNvSpPr>
                <p:nvPr/>
              </p:nvSpPr>
              <p:spPr>
                <a:xfrm>
                  <a:off x="2393079" y="4921744"/>
                  <a:ext cx="522958" cy="523897"/>
                </a:xfrm>
                <a:prstGeom prst="ellipse">
                  <a:avLst/>
                </a:prstGeom>
                <a:solidFill>
                  <a:srgbClr val="FFEAE7"/>
                </a:solidFill>
                <a:ln>
                  <a:noFill/>
                </a:ln>
              </p:spPr>
              <p:txBody>
                <a:bodyPr vert="horz" wrap="none" lIns="0" tIns="45720" rIns="0" bIns="45720" rtlCol="0" anchor="ctr">
                  <a:noAutofit/>
                </a:bodyPr>
                <a:lstStyle>
                  <a:lvl1pPr indent="0">
                    <a:lnSpc>
                      <a:spcPct val="90000"/>
                    </a:lnSpc>
                    <a:spcBef>
                      <a:spcPts val="0"/>
                    </a:spcBef>
                    <a:buFont typeface="Arial" panose="020B0604020202020204" pitchFamily="34" charset="0"/>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685800" indent="-228600">
                    <a:lnSpc>
                      <a:spcPct val="90000"/>
                    </a:lnSpc>
                    <a:spcBef>
                      <a:spcPts val="500"/>
                    </a:spcBef>
                    <a:buFont typeface="Arial" panose="020B0604020202020204" pitchFamily="34" charset="0"/>
                    <a:buNone/>
                    <a:defRPr sz="2400">
                      <a:solidFill>
                        <a:schemeClr val="bg1"/>
                      </a:solidFill>
                    </a:defRPr>
                  </a:lvl2pPr>
                  <a:lvl3pPr marL="1143000" indent="-228600">
                    <a:lnSpc>
                      <a:spcPct val="90000"/>
                    </a:lnSpc>
                    <a:spcBef>
                      <a:spcPts val="500"/>
                    </a:spcBef>
                    <a:buFont typeface="Arial" panose="020B0604020202020204" pitchFamily="34" charset="0"/>
                    <a:buNone/>
                    <a:defRPr sz="2000">
                      <a:solidFill>
                        <a:schemeClr val="bg1"/>
                      </a:solidFill>
                    </a:defRPr>
                  </a:lvl3pPr>
                  <a:lvl4pPr marL="1600200" indent="-228600">
                    <a:lnSpc>
                      <a:spcPct val="90000"/>
                    </a:lnSpc>
                    <a:spcBef>
                      <a:spcPts val="500"/>
                    </a:spcBef>
                    <a:buFont typeface="Arial" panose="020B0604020202020204" pitchFamily="34" charset="0"/>
                    <a:buNone/>
                    <a:defRPr>
                      <a:solidFill>
                        <a:schemeClr val="bg1"/>
                      </a:solidFill>
                    </a:defRPr>
                  </a:lvl4pPr>
                  <a:lvl5pPr marL="2057400" indent="-228600">
                    <a:lnSpc>
                      <a:spcPct val="90000"/>
                    </a:lnSpc>
                    <a:spcBef>
                      <a:spcPts val="500"/>
                    </a:spcBef>
                    <a:buFont typeface="Arial" panose="020B0604020202020204" pitchFamily="34" charset="0"/>
                    <a:buNone/>
                    <a:defRPr>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F86F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41" name="Graphic 1440">
                  <a:extLst>
                    <a:ext uri="{FF2B5EF4-FFF2-40B4-BE49-F238E27FC236}">
                      <a16:creationId xmlns:a16="http://schemas.microsoft.com/office/drawing/2014/main" id="{8D91E6E5-D2DF-0FD1-D638-0F55E0EB775E}"/>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2464646" y="4999522"/>
                  <a:ext cx="372050" cy="372050"/>
                </a:xfrm>
                <a:prstGeom prst="rect">
                  <a:avLst/>
                </a:prstGeom>
              </p:spPr>
            </p:pic>
          </p:grpSp>
        </p:grpSp>
        <p:grpSp>
          <p:nvGrpSpPr>
            <p:cNvPr id="1419" name="Group 1418">
              <a:extLst>
                <a:ext uri="{FF2B5EF4-FFF2-40B4-BE49-F238E27FC236}">
                  <a16:creationId xmlns:a16="http://schemas.microsoft.com/office/drawing/2014/main" id="{CFFE3795-279D-9013-2B61-BA5DBC766F5D}"/>
                </a:ext>
              </a:extLst>
            </p:cNvPr>
            <p:cNvGrpSpPr/>
            <p:nvPr/>
          </p:nvGrpSpPr>
          <p:grpSpPr>
            <a:xfrm>
              <a:off x="4732316" y="4952711"/>
              <a:ext cx="2704220" cy="523897"/>
              <a:chOff x="4977849" y="4979073"/>
              <a:chExt cx="2704220" cy="523897"/>
            </a:xfrm>
          </p:grpSpPr>
          <p:sp>
            <p:nvSpPr>
              <p:cNvPr id="1426" name="TextBox 1425">
                <a:extLst>
                  <a:ext uri="{FF2B5EF4-FFF2-40B4-BE49-F238E27FC236}">
                    <a16:creationId xmlns:a16="http://schemas.microsoft.com/office/drawing/2014/main" id="{EE47DFE4-7BE4-2030-2E95-6BBCAACCCB20}"/>
                  </a:ext>
                </a:extLst>
              </p:cNvPr>
              <p:cNvSpPr txBox="1"/>
              <p:nvPr/>
            </p:nvSpPr>
            <p:spPr>
              <a:xfrm>
                <a:off x="5642573" y="5102522"/>
                <a:ext cx="2039496" cy="276999"/>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lang="en-US" sz="12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Faster Time to Market</a:t>
                </a:r>
                <a:endParaRPr kumimoji="0" lang="es-MX" sz="1200" b="0" i="0" u="none" strike="noStrike" kern="1200" cap="none" spc="0" normalizeH="0" baseline="0" noProof="0">
                  <a:ln>
                    <a:noFill/>
                  </a:ln>
                  <a:solidFill>
                    <a:srgbClr val="F86F35"/>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1427" name="Group 1426">
                <a:extLst>
                  <a:ext uri="{FF2B5EF4-FFF2-40B4-BE49-F238E27FC236}">
                    <a16:creationId xmlns:a16="http://schemas.microsoft.com/office/drawing/2014/main" id="{6ED60A70-292C-91BC-240F-8FC80D187125}"/>
                  </a:ext>
                </a:extLst>
              </p:cNvPr>
              <p:cNvGrpSpPr/>
              <p:nvPr/>
            </p:nvGrpSpPr>
            <p:grpSpPr>
              <a:xfrm>
                <a:off x="4977849" y="4979073"/>
                <a:ext cx="522958" cy="523897"/>
                <a:chOff x="4975896" y="5116878"/>
                <a:chExt cx="522958" cy="523897"/>
              </a:xfrm>
            </p:grpSpPr>
            <p:sp>
              <p:nvSpPr>
                <p:cNvPr id="1429" name="Text Placeholder 1">
                  <a:extLst>
                    <a:ext uri="{FF2B5EF4-FFF2-40B4-BE49-F238E27FC236}">
                      <a16:creationId xmlns:a16="http://schemas.microsoft.com/office/drawing/2014/main" id="{34D0F9DF-1A68-CC67-E042-D5FF7B0F9CE9}"/>
                    </a:ext>
                  </a:extLst>
                </p:cNvPr>
                <p:cNvSpPr txBox="1">
                  <a:spLocks/>
                </p:cNvSpPr>
                <p:nvPr/>
              </p:nvSpPr>
              <p:spPr>
                <a:xfrm>
                  <a:off x="4975896" y="5116878"/>
                  <a:ext cx="522958" cy="523897"/>
                </a:xfrm>
                <a:prstGeom prst="ellipse">
                  <a:avLst/>
                </a:prstGeom>
                <a:solidFill>
                  <a:srgbClr val="FFEAE7"/>
                </a:solidFill>
                <a:ln>
                  <a:noFill/>
                </a:ln>
              </p:spPr>
              <p:txBody>
                <a:bodyPr vert="horz" wrap="none" lIns="0" tIns="45720" rIns="0" bIns="45720" rtlCol="0" anchor="ctr">
                  <a:noAutofit/>
                </a:bodyPr>
                <a:lstStyle>
                  <a:lvl1pPr indent="0">
                    <a:lnSpc>
                      <a:spcPct val="90000"/>
                    </a:lnSpc>
                    <a:spcBef>
                      <a:spcPts val="0"/>
                    </a:spcBef>
                    <a:buFont typeface="Arial" panose="020B0604020202020204" pitchFamily="34" charset="0"/>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685800" indent="-228600">
                    <a:lnSpc>
                      <a:spcPct val="90000"/>
                    </a:lnSpc>
                    <a:spcBef>
                      <a:spcPts val="500"/>
                    </a:spcBef>
                    <a:buFont typeface="Arial" panose="020B0604020202020204" pitchFamily="34" charset="0"/>
                    <a:buNone/>
                    <a:defRPr sz="2400">
                      <a:solidFill>
                        <a:schemeClr val="bg1"/>
                      </a:solidFill>
                    </a:defRPr>
                  </a:lvl2pPr>
                  <a:lvl3pPr marL="1143000" indent="-228600">
                    <a:lnSpc>
                      <a:spcPct val="90000"/>
                    </a:lnSpc>
                    <a:spcBef>
                      <a:spcPts val="500"/>
                    </a:spcBef>
                    <a:buFont typeface="Arial" panose="020B0604020202020204" pitchFamily="34" charset="0"/>
                    <a:buNone/>
                    <a:defRPr sz="2000">
                      <a:solidFill>
                        <a:schemeClr val="bg1"/>
                      </a:solidFill>
                    </a:defRPr>
                  </a:lvl3pPr>
                  <a:lvl4pPr marL="1600200" indent="-228600">
                    <a:lnSpc>
                      <a:spcPct val="90000"/>
                    </a:lnSpc>
                    <a:spcBef>
                      <a:spcPts val="500"/>
                    </a:spcBef>
                    <a:buFont typeface="Arial" panose="020B0604020202020204" pitchFamily="34" charset="0"/>
                    <a:buNone/>
                    <a:defRPr>
                      <a:solidFill>
                        <a:schemeClr val="bg1"/>
                      </a:solidFill>
                    </a:defRPr>
                  </a:lvl4pPr>
                  <a:lvl5pPr marL="2057400" indent="-228600">
                    <a:lnSpc>
                      <a:spcPct val="90000"/>
                    </a:lnSpc>
                    <a:spcBef>
                      <a:spcPts val="500"/>
                    </a:spcBef>
                    <a:buFont typeface="Arial" panose="020B0604020202020204" pitchFamily="34" charset="0"/>
                    <a:buNone/>
                    <a:defRPr>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F86F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36" name="Graphic 1435">
                  <a:extLst>
                    <a:ext uri="{FF2B5EF4-FFF2-40B4-BE49-F238E27FC236}">
                      <a16:creationId xmlns:a16="http://schemas.microsoft.com/office/drawing/2014/main" id="{EAB79759-5399-C79E-B7BD-974ABAF0B767}"/>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5073294" y="5215169"/>
                  <a:ext cx="339608" cy="339608"/>
                </a:xfrm>
                <a:prstGeom prst="rect">
                  <a:avLst/>
                </a:prstGeom>
              </p:spPr>
            </p:pic>
          </p:grpSp>
        </p:grpSp>
        <p:grpSp>
          <p:nvGrpSpPr>
            <p:cNvPr id="1420" name="Group 1419">
              <a:extLst>
                <a:ext uri="{FF2B5EF4-FFF2-40B4-BE49-F238E27FC236}">
                  <a16:creationId xmlns:a16="http://schemas.microsoft.com/office/drawing/2014/main" id="{B8A14C8B-11B7-A063-BA86-141DC23F79F0}"/>
                </a:ext>
              </a:extLst>
            </p:cNvPr>
            <p:cNvGrpSpPr/>
            <p:nvPr/>
          </p:nvGrpSpPr>
          <p:grpSpPr>
            <a:xfrm>
              <a:off x="7595583" y="4952711"/>
              <a:ext cx="2704220" cy="523897"/>
              <a:chOff x="7841116" y="4952711"/>
              <a:chExt cx="2704220" cy="523897"/>
            </a:xfrm>
          </p:grpSpPr>
          <p:sp>
            <p:nvSpPr>
              <p:cNvPr id="1422" name="TextBox 1421">
                <a:extLst>
                  <a:ext uri="{FF2B5EF4-FFF2-40B4-BE49-F238E27FC236}">
                    <a16:creationId xmlns:a16="http://schemas.microsoft.com/office/drawing/2014/main" id="{E2C3CE57-362D-F458-8338-4A6CD93222AC}"/>
                  </a:ext>
                </a:extLst>
              </p:cNvPr>
              <p:cNvSpPr txBox="1"/>
              <p:nvPr/>
            </p:nvSpPr>
            <p:spPr>
              <a:xfrm>
                <a:off x="8505840" y="4983827"/>
                <a:ext cx="2039496" cy="46166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lang="en-US" sz="1200">
                    <a:solidFill>
                      <a:srgbClr val="F86F35"/>
                    </a:solidFill>
                    <a:latin typeface="Open Sans SemiBold" panose="020B0706030804020204" pitchFamily="34" charset="0"/>
                    <a:ea typeface="Open Sans SemiBold" panose="020B0706030804020204" pitchFamily="34" charset="0"/>
                    <a:cs typeface="Open Sans SemiBold" panose="020B0706030804020204" pitchFamily="34" charset="0"/>
                  </a:rPr>
                  <a:t>Save Time, Money &amp; Efforts</a:t>
                </a:r>
                <a:endParaRPr kumimoji="0" lang="es-MX" sz="1200" b="0" i="0" u="none" strike="noStrike" kern="1200" cap="none" spc="0" normalizeH="0" baseline="0" noProof="0">
                  <a:ln>
                    <a:noFill/>
                  </a:ln>
                  <a:solidFill>
                    <a:srgbClr val="F86F35"/>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1423" name="Group 1422">
                <a:extLst>
                  <a:ext uri="{FF2B5EF4-FFF2-40B4-BE49-F238E27FC236}">
                    <a16:creationId xmlns:a16="http://schemas.microsoft.com/office/drawing/2014/main" id="{F8ECB5BE-F37E-BB30-9DD6-33E323FB639B}"/>
                  </a:ext>
                </a:extLst>
              </p:cNvPr>
              <p:cNvGrpSpPr/>
              <p:nvPr/>
            </p:nvGrpSpPr>
            <p:grpSpPr>
              <a:xfrm>
                <a:off x="7841116" y="4952711"/>
                <a:ext cx="522958" cy="523897"/>
                <a:chOff x="7843070" y="4987684"/>
                <a:chExt cx="522958" cy="523897"/>
              </a:xfrm>
            </p:grpSpPr>
            <p:sp>
              <p:nvSpPr>
                <p:cNvPr id="1424" name="Text Placeholder 1">
                  <a:extLst>
                    <a:ext uri="{FF2B5EF4-FFF2-40B4-BE49-F238E27FC236}">
                      <a16:creationId xmlns:a16="http://schemas.microsoft.com/office/drawing/2014/main" id="{97BFCDC0-8BE2-ADDD-4D8A-F3F6B5F3E346}"/>
                    </a:ext>
                  </a:extLst>
                </p:cNvPr>
                <p:cNvSpPr txBox="1">
                  <a:spLocks/>
                </p:cNvSpPr>
                <p:nvPr/>
              </p:nvSpPr>
              <p:spPr>
                <a:xfrm>
                  <a:off x="7843070" y="4987684"/>
                  <a:ext cx="522958" cy="523897"/>
                </a:xfrm>
                <a:prstGeom prst="ellipse">
                  <a:avLst/>
                </a:prstGeom>
                <a:solidFill>
                  <a:srgbClr val="FFEAE7"/>
                </a:solidFill>
                <a:ln>
                  <a:noFill/>
                </a:ln>
              </p:spPr>
              <p:txBody>
                <a:bodyPr vert="horz" wrap="none" lIns="0" tIns="45720" rIns="0" bIns="45720" rtlCol="0" anchor="ctr">
                  <a:noAutofit/>
                </a:bodyPr>
                <a:lstStyle>
                  <a:lvl1pPr indent="0">
                    <a:lnSpc>
                      <a:spcPct val="90000"/>
                    </a:lnSpc>
                    <a:spcBef>
                      <a:spcPts val="0"/>
                    </a:spcBef>
                    <a:buFont typeface="Arial" panose="020B0604020202020204" pitchFamily="34" charset="0"/>
                    <a:buNone/>
                    <a:defRPr sz="2400">
                      <a:solidFill>
                        <a:srgbClr val="002060"/>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685800" indent="-228600">
                    <a:lnSpc>
                      <a:spcPct val="90000"/>
                    </a:lnSpc>
                    <a:spcBef>
                      <a:spcPts val="500"/>
                    </a:spcBef>
                    <a:buFont typeface="Arial" panose="020B0604020202020204" pitchFamily="34" charset="0"/>
                    <a:buNone/>
                    <a:defRPr sz="2400">
                      <a:solidFill>
                        <a:schemeClr val="bg1"/>
                      </a:solidFill>
                    </a:defRPr>
                  </a:lvl2pPr>
                  <a:lvl3pPr marL="1143000" indent="-228600">
                    <a:lnSpc>
                      <a:spcPct val="90000"/>
                    </a:lnSpc>
                    <a:spcBef>
                      <a:spcPts val="500"/>
                    </a:spcBef>
                    <a:buFont typeface="Arial" panose="020B0604020202020204" pitchFamily="34" charset="0"/>
                    <a:buNone/>
                    <a:defRPr sz="2000">
                      <a:solidFill>
                        <a:schemeClr val="bg1"/>
                      </a:solidFill>
                    </a:defRPr>
                  </a:lvl3pPr>
                  <a:lvl4pPr marL="1600200" indent="-228600">
                    <a:lnSpc>
                      <a:spcPct val="90000"/>
                    </a:lnSpc>
                    <a:spcBef>
                      <a:spcPts val="500"/>
                    </a:spcBef>
                    <a:buFont typeface="Arial" panose="020B0604020202020204" pitchFamily="34" charset="0"/>
                    <a:buNone/>
                    <a:defRPr>
                      <a:solidFill>
                        <a:schemeClr val="bg1"/>
                      </a:solidFill>
                    </a:defRPr>
                  </a:lvl4pPr>
                  <a:lvl5pPr marL="2057400" indent="-228600">
                    <a:lnSpc>
                      <a:spcPct val="90000"/>
                    </a:lnSpc>
                    <a:spcBef>
                      <a:spcPts val="500"/>
                    </a:spcBef>
                    <a:buFont typeface="Arial" panose="020B0604020202020204" pitchFamily="34" charset="0"/>
                    <a:buNone/>
                    <a:defRPr>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45720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600" b="1" i="0" u="none" strike="noStrike" kern="1200" cap="none" spc="0" normalizeH="0" baseline="0" noProof="0">
                    <a:ln>
                      <a:noFill/>
                    </a:ln>
                    <a:solidFill>
                      <a:srgbClr val="F86F3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25" name="Graphic 1424">
                  <a:extLst>
                    <a:ext uri="{FF2B5EF4-FFF2-40B4-BE49-F238E27FC236}">
                      <a16:creationId xmlns:a16="http://schemas.microsoft.com/office/drawing/2014/main" id="{8657C19F-C679-56A8-8322-EE569724F1D2}"/>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7904742" y="5042854"/>
                  <a:ext cx="409678" cy="409678"/>
                </a:xfrm>
                <a:prstGeom prst="rect">
                  <a:avLst/>
                </a:prstGeom>
              </p:spPr>
            </p:pic>
          </p:grpSp>
        </p:grpSp>
      </p:grpSp>
      <p:grpSp>
        <p:nvGrpSpPr>
          <p:cNvPr id="1446" name="Group 1445">
            <a:extLst>
              <a:ext uri="{FF2B5EF4-FFF2-40B4-BE49-F238E27FC236}">
                <a16:creationId xmlns:a16="http://schemas.microsoft.com/office/drawing/2014/main" id="{2B039824-E6F4-C05E-8599-971A49EC1B0F}"/>
              </a:ext>
            </a:extLst>
          </p:cNvPr>
          <p:cNvGrpSpPr/>
          <p:nvPr/>
        </p:nvGrpSpPr>
        <p:grpSpPr>
          <a:xfrm>
            <a:off x="392156" y="2210944"/>
            <a:ext cx="3637091" cy="1175424"/>
            <a:chOff x="392156" y="2465930"/>
            <a:chExt cx="3637091" cy="1175424"/>
          </a:xfrm>
        </p:grpSpPr>
        <p:grpSp>
          <p:nvGrpSpPr>
            <p:cNvPr id="1447" name="Group 1446">
              <a:extLst>
                <a:ext uri="{FF2B5EF4-FFF2-40B4-BE49-F238E27FC236}">
                  <a16:creationId xmlns:a16="http://schemas.microsoft.com/office/drawing/2014/main" id="{0659BF66-499B-91C1-15BC-2E086E4A2506}"/>
                </a:ext>
              </a:extLst>
            </p:cNvPr>
            <p:cNvGrpSpPr/>
            <p:nvPr/>
          </p:nvGrpSpPr>
          <p:grpSpPr>
            <a:xfrm>
              <a:off x="1540591" y="2478048"/>
              <a:ext cx="1376573" cy="1163306"/>
              <a:chOff x="8233560" y="5011127"/>
              <a:chExt cx="1376573" cy="1163306"/>
            </a:xfrm>
          </p:grpSpPr>
          <p:grpSp>
            <p:nvGrpSpPr>
              <p:cNvPr id="1480" name="Group 1479">
                <a:extLst>
                  <a:ext uri="{FF2B5EF4-FFF2-40B4-BE49-F238E27FC236}">
                    <a16:creationId xmlns:a16="http://schemas.microsoft.com/office/drawing/2014/main" id="{762CB0DD-D4BF-8385-1E57-17734E8442BA}"/>
                  </a:ext>
                </a:extLst>
              </p:cNvPr>
              <p:cNvGrpSpPr/>
              <p:nvPr/>
            </p:nvGrpSpPr>
            <p:grpSpPr>
              <a:xfrm>
                <a:off x="8281990" y="5011127"/>
                <a:ext cx="666876" cy="722341"/>
                <a:chOff x="8292345" y="5023826"/>
                <a:chExt cx="666876" cy="722341"/>
              </a:xfrm>
            </p:grpSpPr>
            <p:pic>
              <p:nvPicPr>
                <p:cNvPr id="1483" name="Graphic 1482" descr="Magnifying glass with solid fill">
                  <a:extLst>
                    <a:ext uri="{FF2B5EF4-FFF2-40B4-BE49-F238E27FC236}">
                      <a16:creationId xmlns:a16="http://schemas.microsoft.com/office/drawing/2014/main" id="{75D7FF61-4C1A-044A-9019-14B28CD96B8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01684" y="5023826"/>
                  <a:ext cx="457537" cy="457537"/>
                </a:xfrm>
                <a:prstGeom prst="rect">
                  <a:avLst/>
                </a:prstGeom>
              </p:spPr>
            </p:pic>
            <p:pic>
              <p:nvPicPr>
                <p:cNvPr id="1484" name="Graphic 1483" descr="User outline">
                  <a:extLst>
                    <a:ext uri="{FF2B5EF4-FFF2-40B4-BE49-F238E27FC236}">
                      <a16:creationId xmlns:a16="http://schemas.microsoft.com/office/drawing/2014/main" id="{62C1BF0A-5F5C-A103-2835-49E6E0FA082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292345" y="5288630"/>
                  <a:ext cx="457538" cy="457537"/>
                </a:xfrm>
                <a:prstGeom prst="rect">
                  <a:avLst/>
                </a:prstGeom>
              </p:spPr>
            </p:pic>
            <p:pic>
              <p:nvPicPr>
                <p:cNvPr id="1485" name="Graphic 1484" descr="Clipboard Checked outline">
                  <a:extLst>
                    <a:ext uri="{FF2B5EF4-FFF2-40B4-BE49-F238E27FC236}">
                      <a16:creationId xmlns:a16="http://schemas.microsoft.com/office/drawing/2014/main" id="{3AC1BF5F-F089-1414-00D7-EA12912BCA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74485" y="5096389"/>
                  <a:ext cx="212298" cy="212296"/>
                </a:xfrm>
                <a:prstGeom prst="rect">
                  <a:avLst/>
                </a:prstGeom>
              </p:spPr>
            </p:pic>
          </p:grpSp>
          <p:sp>
            <p:nvSpPr>
              <p:cNvPr id="1481" name="TextBox 1480">
                <a:extLst>
                  <a:ext uri="{FF2B5EF4-FFF2-40B4-BE49-F238E27FC236}">
                    <a16:creationId xmlns:a16="http://schemas.microsoft.com/office/drawing/2014/main" id="{A80F0BF1-9EAD-1783-C37E-F7E731E38E4E}"/>
                  </a:ext>
                </a:extLst>
              </p:cNvPr>
              <p:cNvSpPr txBox="1"/>
              <p:nvPr/>
            </p:nvSpPr>
            <p:spPr>
              <a:xfrm>
                <a:off x="8233560" y="5743546"/>
                <a:ext cx="1376573" cy="430887"/>
              </a:xfrm>
              <a:prstGeom prst="rect">
                <a:avLst/>
              </a:prstGeom>
              <a:noFill/>
            </p:spPr>
            <p:txBody>
              <a:bodyPr wrap="square" rtlCol="0">
                <a:spAutoFit/>
              </a:bodyPr>
              <a:lstStyle/>
              <a:p>
                <a:pPr algn="ctr" defTabSz="457200">
                  <a:defRPr/>
                </a:pPr>
                <a:r>
                  <a:rPr lang="es-MX" sz="11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Tester</a:t>
                </a:r>
                <a:r>
                  <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 + AI </a:t>
                </a:r>
                <a:r>
                  <a:rPr lang="es-MX" sz="11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Models</a:t>
                </a:r>
                <a:endPar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grpSp>
          <p:nvGrpSpPr>
            <p:cNvPr id="1453" name="Group 1452">
              <a:extLst>
                <a:ext uri="{FF2B5EF4-FFF2-40B4-BE49-F238E27FC236}">
                  <a16:creationId xmlns:a16="http://schemas.microsoft.com/office/drawing/2014/main" id="{1170790A-B066-EE69-A868-23473F8AA7E5}"/>
                </a:ext>
              </a:extLst>
            </p:cNvPr>
            <p:cNvGrpSpPr/>
            <p:nvPr/>
          </p:nvGrpSpPr>
          <p:grpSpPr>
            <a:xfrm>
              <a:off x="3266430" y="2605683"/>
              <a:ext cx="762817" cy="1035671"/>
              <a:chOff x="10343216" y="5138762"/>
              <a:chExt cx="762817" cy="1035671"/>
            </a:xfrm>
          </p:grpSpPr>
          <p:pic>
            <p:nvPicPr>
              <p:cNvPr id="1474" name="Graphic 1473" descr="Clipboard Checked outline">
                <a:extLst>
                  <a:ext uri="{FF2B5EF4-FFF2-40B4-BE49-F238E27FC236}">
                    <a16:creationId xmlns:a16="http://schemas.microsoft.com/office/drawing/2014/main" id="{B756D7C5-8C48-8D66-D652-A726BBB0E9E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462025" y="5138762"/>
                <a:ext cx="525200" cy="525198"/>
              </a:xfrm>
              <a:prstGeom prst="rect">
                <a:avLst/>
              </a:prstGeom>
            </p:spPr>
          </p:pic>
          <p:sp>
            <p:nvSpPr>
              <p:cNvPr id="1475" name="TextBox 1474">
                <a:extLst>
                  <a:ext uri="{FF2B5EF4-FFF2-40B4-BE49-F238E27FC236}">
                    <a16:creationId xmlns:a16="http://schemas.microsoft.com/office/drawing/2014/main" id="{3B171A20-2CE6-DCB7-6412-D8A495496FE0}"/>
                  </a:ext>
                </a:extLst>
              </p:cNvPr>
              <p:cNvSpPr txBox="1"/>
              <p:nvPr/>
            </p:nvSpPr>
            <p:spPr>
              <a:xfrm>
                <a:off x="10343216" y="5743546"/>
                <a:ext cx="762817" cy="430887"/>
              </a:xfrm>
              <a:prstGeom prst="rect">
                <a:avLst/>
              </a:prstGeom>
              <a:noFill/>
            </p:spPr>
            <p:txBody>
              <a:bodyPr wrap="square" rtlCol="0">
                <a:spAutoFit/>
              </a:bodyPr>
              <a:lstStyle/>
              <a:p>
                <a:pPr algn="ctr" defTabSz="457200">
                  <a:defRPr/>
                </a:pPr>
                <a:r>
                  <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Test Cases</a:t>
                </a:r>
              </a:p>
            </p:txBody>
          </p:sp>
        </p:grpSp>
        <p:grpSp>
          <p:nvGrpSpPr>
            <p:cNvPr id="1454" name="Group 1453">
              <a:extLst>
                <a:ext uri="{FF2B5EF4-FFF2-40B4-BE49-F238E27FC236}">
                  <a16:creationId xmlns:a16="http://schemas.microsoft.com/office/drawing/2014/main" id="{90E4A563-3D63-DD0A-224B-6CE2B1C0BB86}"/>
                </a:ext>
              </a:extLst>
            </p:cNvPr>
            <p:cNvGrpSpPr/>
            <p:nvPr/>
          </p:nvGrpSpPr>
          <p:grpSpPr>
            <a:xfrm>
              <a:off x="392156" y="2465930"/>
              <a:ext cx="762817" cy="1175424"/>
              <a:chOff x="6944690" y="4999009"/>
              <a:chExt cx="762817" cy="1175424"/>
            </a:xfrm>
          </p:grpSpPr>
          <p:sp>
            <p:nvSpPr>
              <p:cNvPr id="1470" name="TextBox 1469">
                <a:extLst>
                  <a:ext uri="{FF2B5EF4-FFF2-40B4-BE49-F238E27FC236}">
                    <a16:creationId xmlns:a16="http://schemas.microsoft.com/office/drawing/2014/main" id="{778C5A11-B49F-A3A5-A28C-B2D7CF44C5CA}"/>
                  </a:ext>
                </a:extLst>
              </p:cNvPr>
              <p:cNvSpPr txBox="1"/>
              <p:nvPr/>
            </p:nvSpPr>
            <p:spPr>
              <a:xfrm>
                <a:off x="6944690" y="5743546"/>
                <a:ext cx="762817" cy="430887"/>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MX" sz="1100" b="0" i="0" u="none" strike="noStrike" kern="1200" cap="none" spc="0" normalizeH="0" baseline="0" noProof="0" err="1">
                    <a:ln>
                      <a:noFill/>
                    </a:ln>
                    <a:solidFill>
                      <a:srgbClr val="3F507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User</a:t>
                </a:r>
                <a:r>
                  <a:rPr kumimoji="0" lang="es-MX" sz="1100" b="0" i="0" u="none" strike="noStrike" kern="1200" cap="none" spc="0" normalizeH="0" baseline="0" noProof="0">
                    <a:ln>
                      <a:noFill/>
                    </a:ln>
                    <a:solidFill>
                      <a:srgbClr val="3F507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 </a:t>
                </a:r>
                <a:r>
                  <a:rPr kumimoji="0" lang="es-MX" sz="1100" b="0" i="0" u="none" strike="noStrike" kern="1200" cap="none" spc="0" normalizeH="0" baseline="0" noProof="0" err="1">
                    <a:ln>
                      <a:noFill/>
                    </a:ln>
                    <a:solidFill>
                      <a:srgbClr val="3F507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tories</a:t>
                </a:r>
                <a:endParaRPr kumimoji="0" lang="es-MX" sz="1100" b="0" i="0" u="none" strike="noStrike" kern="1200" cap="none" spc="0" normalizeH="0" baseline="0" noProof="0">
                  <a:ln>
                    <a:noFill/>
                  </a:ln>
                  <a:solidFill>
                    <a:srgbClr val="3F507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1471" name="Group 1470">
                <a:extLst>
                  <a:ext uri="{FF2B5EF4-FFF2-40B4-BE49-F238E27FC236}">
                    <a16:creationId xmlns:a16="http://schemas.microsoft.com/office/drawing/2014/main" id="{BD058335-0A83-587F-26D8-9CDF51BE49D8}"/>
                  </a:ext>
                </a:extLst>
              </p:cNvPr>
              <p:cNvGrpSpPr/>
              <p:nvPr/>
            </p:nvGrpSpPr>
            <p:grpSpPr>
              <a:xfrm>
                <a:off x="7069879" y="4999009"/>
                <a:ext cx="546846" cy="728504"/>
                <a:chOff x="7095523" y="5075639"/>
                <a:chExt cx="416413" cy="554745"/>
              </a:xfrm>
            </p:grpSpPr>
            <p:pic>
              <p:nvPicPr>
                <p:cNvPr id="1472" name="Graphic 1471" descr="Clipboard Checked outline">
                  <a:extLst>
                    <a:ext uri="{FF2B5EF4-FFF2-40B4-BE49-F238E27FC236}">
                      <a16:creationId xmlns:a16="http://schemas.microsoft.com/office/drawing/2014/main" id="{20D3E477-413D-E5CE-8C70-5FDEB08672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095523" y="5213971"/>
                  <a:ext cx="416413" cy="416413"/>
                </a:xfrm>
                <a:prstGeom prst="rect">
                  <a:avLst/>
                </a:prstGeom>
              </p:spPr>
            </p:pic>
            <p:pic>
              <p:nvPicPr>
                <p:cNvPr id="1473" name="Graphic 1472" descr="User outline">
                  <a:extLst>
                    <a:ext uri="{FF2B5EF4-FFF2-40B4-BE49-F238E27FC236}">
                      <a16:creationId xmlns:a16="http://schemas.microsoft.com/office/drawing/2014/main" id="{A09F6CA8-ED46-93CC-862A-060994562B3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203726" y="5075639"/>
                  <a:ext cx="198948" cy="198948"/>
                </a:xfrm>
                <a:prstGeom prst="rect">
                  <a:avLst/>
                </a:prstGeom>
              </p:spPr>
            </p:pic>
          </p:grpSp>
        </p:grpSp>
      </p:grpSp>
      <p:grpSp>
        <p:nvGrpSpPr>
          <p:cNvPr id="1486" name="Group 1485">
            <a:extLst>
              <a:ext uri="{FF2B5EF4-FFF2-40B4-BE49-F238E27FC236}">
                <a16:creationId xmlns:a16="http://schemas.microsoft.com/office/drawing/2014/main" id="{A3B26CF6-0823-1D86-36BD-DDE0C9665D9A}"/>
              </a:ext>
            </a:extLst>
          </p:cNvPr>
          <p:cNvGrpSpPr/>
          <p:nvPr/>
        </p:nvGrpSpPr>
        <p:grpSpPr>
          <a:xfrm>
            <a:off x="8042611" y="2223062"/>
            <a:ext cx="3924205" cy="1163306"/>
            <a:chOff x="8042611" y="2478048"/>
            <a:chExt cx="3924205" cy="1163306"/>
          </a:xfrm>
        </p:grpSpPr>
        <p:grpSp>
          <p:nvGrpSpPr>
            <p:cNvPr id="1487" name="Group 1486">
              <a:extLst>
                <a:ext uri="{FF2B5EF4-FFF2-40B4-BE49-F238E27FC236}">
                  <a16:creationId xmlns:a16="http://schemas.microsoft.com/office/drawing/2014/main" id="{BB297666-995F-1C32-1B05-93CDB672C301}"/>
                </a:ext>
              </a:extLst>
            </p:cNvPr>
            <p:cNvGrpSpPr/>
            <p:nvPr/>
          </p:nvGrpSpPr>
          <p:grpSpPr>
            <a:xfrm>
              <a:off x="11004694" y="2478048"/>
              <a:ext cx="962122" cy="994029"/>
              <a:chOff x="10456246" y="4999618"/>
              <a:chExt cx="962122" cy="994029"/>
            </a:xfrm>
          </p:grpSpPr>
          <p:grpSp>
            <p:nvGrpSpPr>
              <p:cNvPr id="1504" name="Group 1503">
                <a:extLst>
                  <a:ext uri="{FF2B5EF4-FFF2-40B4-BE49-F238E27FC236}">
                    <a16:creationId xmlns:a16="http://schemas.microsoft.com/office/drawing/2014/main" id="{38E1C690-AF50-DF21-49C0-6725D22826B8}"/>
                  </a:ext>
                </a:extLst>
              </p:cNvPr>
              <p:cNvGrpSpPr/>
              <p:nvPr/>
            </p:nvGrpSpPr>
            <p:grpSpPr>
              <a:xfrm>
                <a:off x="10603868" y="4999618"/>
                <a:ext cx="666876" cy="722341"/>
                <a:chOff x="7778832" y="5023826"/>
                <a:chExt cx="666876" cy="722341"/>
              </a:xfrm>
            </p:grpSpPr>
            <p:pic>
              <p:nvPicPr>
                <p:cNvPr id="1506" name="Graphic 1505" descr="Magnifying glass with solid fill">
                  <a:extLst>
                    <a:ext uri="{FF2B5EF4-FFF2-40B4-BE49-F238E27FC236}">
                      <a16:creationId xmlns:a16="http://schemas.microsoft.com/office/drawing/2014/main" id="{38C7E554-90C6-4F4A-B481-97BD66B7F94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88171" y="5023826"/>
                  <a:ext cx="457537" cy="457537"/>
                </a:xfrm>
                <a:prstGeom prst="rect">
                  <a:avLst/>
                </a:prstGeom>
              </p:spPr>
            </p:pic>
            <p:pic>
              <p:nvPicPr>
                <p:cNvPr id="1507" name="Graphic 1506" descr="User outline">
                  <a:extLst>
                    <a:ext uri="{FF2B5EF4-FFF2-40B4-BE49-F238E27FC236}">
                      <a16:creationId xmlns:a16="http://schemas.microsoft.com/office/drawing/2014/main" id="{2E4A3986-0BA2-75C3-CB68-4B265369535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778832" y="5288630"/>
                  <a:ext cx="457538" cy="457537"/>
                </a:xfrm>
                <a:prstGeom prst="rect">
                  <a:avLst/>
                </a:prstGeom>
              </p:spPr>
            </p:pic>
            <p:pic>
              <p:nvPicPr>
                <p:cNvPr id="1508" name="Graphic 1507" descr="Clipboard Checked outline">
                  <a:extLst>
                    <a:ext uri="{FF2B5EF4-FFF2-40B4-BE49-F238E27FC236}">
                      <a16:creationId xmlns:a16="http://schemas.microsoft.com/office/drawing/2014/main" id="{398B50C4-80E2-DBE1-428D-77776F11579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060972" y="5096389"/>
                  <a:ext cx="212298" cy="212296"/>
                </a:xfrm>
                <a:prstGeom prst="rect">
                  <a:avLst/>
                </a:prstGeom>
              </p:spPr>
            </p:pic>
          </p:grpSp>
          <p:sp>
            <p:nvSpPr>
              <p:cNvPr id="1505" name="TextBox 1504">
                <a:extLst>
                  <a:ext uri="{FF2B5EF4-FFF2-40B4-BE49-F238E27FC236}">
                    <a16:creationId xmlns:a16="http://schemas.microsoft.com/office/drawing/2014/main" id="{4149ED45-8D92-A7EF-AB0D-352641F4B34F}"/>
                  </a:ext>
                </a:extLst>
              </p:cNvPr>
              <p:cNvSpPr txBox="1"/>
              <p:nvPr/>
            </p:nvSpPr>
            <p:spPr>
              <a:xfrm>
                <a:off x="10456246" y="5732037"/>
                <a:ext cx="962122" cy="261610"/>
              </a:xfrm>
              <a:prstGeom prst="rect">
                <a:avLst/>
              </a:prstGeom>
              <a:noFill/>
            </p:spPr>
            <p:txBody>
              <a:bodyPr wrap="square" rtlCol="0">
                <a:spAutoFit/>
              </a:bodyPr>
              <a:lstStyle/>
              <a:p>
                <a:pPr algn="ctr" defTabSz="457200">
                  <a:defRPr/>
                </a:pPr>
                <a:r>
                  <a:rPr lang="es-MX" sz="11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Automator</a:t>
                </a:r>
                <a:endPar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sp>
          <p:nvSpPr>
            <p:cNvPr id="1501" name="TextBox 1500">
              <a:extLst>
                <a:ext uri="{FF2B5EF4-FFF2-40B4-BE49-F238E27FC236}">
                  <a16:creationId xmlns:a16="http://schemas.microsoft.com/office/drawing/2014/main" id="{E8038A61-AE11-AC3B-CAD7-E9C809901C09}"/>
                </a:ext>
              </a:extLst>
            </p:cNvPr>
            <p:cNvSpPr txBox="1"/>
            <p:nvPr/>
          </p:nvSpPr>
          <p:spPr>
            <a:xfrm>
              <a:off x="8942254" y="3210467"/>
              <a:ext cx="804680" cy="430887"/>
            </a:xfrm>
            <a:prstGeom prst="rect">
              <a:avLst/>
            </a:prstGeom>
            <a:noFill/>
          </p:spPr>
          <p:txBody>
            <a:bodyPr wrap="square" rtlCol="0">
              <a:spAutoFit/>
            </a:bodyPr>
            <a:lstStyle/>
            <a:p>
              <a:pPr algn="ctr" defTabSz="457200">
                <a:defRPr/>
              </a:pPr>
              <a:r>
                <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AI </a:t>
              </a:r>
              <a:r>
                <a:rPr lang="es-MX" sz="11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Models</a:t>
              </a:r>
              <a:endPar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1489" name="Group 1488">
              <a:extLst>
                <a:ext uri="{FF2B5EF4-FFF2-40B4-BE49-F238E27FC236}">
                  <a16:creationId xmlns:a16="http://schemas.microsoft.com/office/drawing/2014/main" id="{38251C2C-4BE5-14D7-243A-98BF693BDDF1}"/>
                </a:ext>
              </a:extLst>
            </p:cNvPr>
            <p:cNvGrpSpPr/>
            <p:nvPr/>
          </p:nvGrpSpPr>
          <p:grpSpPr>
            <a:xfrm>
              <a:off x="8042611" y="2605683"/>
              <a:ext cx="762817" cy="1035671"/>
              <a:chOff x="10438859" y="5138762"/>
              <a:chExt cx="762817" cy="1035671"/>
            </a:xfrm>
          </p:grpSpPr>
          <p:pic>
            <p:nvPicPr>
              <p:cNvPr id="1498" name="Graphic 1497" descr="Clipboard Checked outline">
                <a:extLst>
                  <a:ext uri="{FF2B5EF4-FFF2-40B4-BE49-F238E27FC236}">
                    <a16:creationId xmlns:a16="http://schemas.microsoft.com/office/drawing/2014/main" id="{7635D3BB-DCFC-FD50-B0D3-5B3821EF3B2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557668" y="5138762"/>
                <a:ext cx="525200" cy="525198"/>
              </a:xfrm>
              <a:prstGeom prst="rect">
                <a:avLst/>
              </a:prstGeom>
            </p:spPr>
          </p:pic>
          <p:sp>
            <p:nvSpPr>
              <p:cNvPr id="1499" name="TextBox 1498">
                <a:extLst>
                  <a:ext uri="{FF2B5EF4-FFF2-40B4-BE49-F238E27FC236}">
                    <a16:creationId xmlns:a16="http://schemas.microsoft.com/office/drawing/2014/main" id="{B514C9A5-9C79-DE58-734C-940D9854C46D}"/>
                  </a:ext>
                </a:extLst>
              </p:cNvPr>
              <p:cNvSpPr txBox="1"/>
              <p:nvPr/>
            </p:nvSpPr>
            <p:spPr>
              <a:xfrm>
                <a:off x="10438859" y="5743546"/>
                <a:ext cx="762817" cy="430887"/>
              </a:xfrm>
              <a:prstGeom prst="rect">
                <a:avLst/>
              </a:prstGeom>
              <a:noFill/>
            </p:spPr>
            <p:txBody>
              <a:bodyPr wrap="square" rtlCol="0">
                <a:spAutoFit/>
              </a:bodyPr>
              <a:lstStyle/>
              <a:p>
                <a:pPr algn="ctr" defTabSz="457200">
                  <a:defRPr/>
                </a:pPr>
                <a:r>
                  <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Test Cases +</a:t>
                </a:r>
              </a:p>
            </p:txBody>
          </p:sp>
        </p:grpSp>
        <p:grpSp>
          <p:nvGrpSpPr>
            <p:cNvPr id="1490" name="Group 1489">
              <a:extLst>
                <a:ext uri="{FF2B5EF4-FFF2-40B4-BE49-F238E27FC236}">
                  <a16:creationId xmlns:a16="http://schemas.microsoft.com/office/drawing/2014/main" id="{2DB5CA3D-0F64-42F6-526B-AE29927BAA97}"/>
                </a:ext>
              </a:extLst>
            </p:cNvPr>
            <p:cNvGrpSpPr/>
            <p:nvPr/>
          </p:nvGrpSpPr>
          <p:grpSpPr>
            <a:xfrm>
              <a:off x="9883760" y="2478628"/>
              <a:ext cx="984106" cy="1162726"/>
              <a:chOff x="9813362" y="2478628"/>
              <a:chExt cx="984106" cy="1162726"/>
            </a:xfrm>
          </p:grpSpPr>
          <p:sp>
            <p:nvSpPr>
              <p:cNvPr id="1494" name="TextBox 1493">
                <a:extLst>
                  <a:ext uri="{FF2B5EF4-FFF2-40B4-BE49-F238E27FC236}">
                    <a16:creationId xmlns:a16="http://schemas.microsoft.com/office/drawing/2014/main" id="{8CABB735-B4BB-1A64-AFEA-19FBE0A469A0}"/>
                  </a:ext>
                </a:extLst>
              </p:cNvPr>
              <p:cNvSpPr txBox="1"/>
              <p:nvPr/>
            </p:nvSpPr>
            <p:spPr>
              <a:xfrm>
                <a:off x="9813362" y="3210467"/>
                <a:ext cx="984106" cy="430887"/>
              </a:xfrm>
              <a:prstGeom prst="rect">
                <a:avLst/>
              </a:prstGeom>
              <a:noFill/>
            </p:spPr>
            <p:txBody>
              <a:bodyPr wrap="square" lIns="0" rIns="0" rtlCol="0">
                <a:spAutoFit/>
              </a:bodyPr>
              <a:lstStyle/>
              <a:p>
                <a:pPr algn="ctr" defTabSz="457200">
                  <a:defRPr/>
                </a:pPr>
                <a:r>
                  <a:rPr lang="es-MX" sz="1100" err="1">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Automation</a:t>
                </a:r>
                <a:r>
                  <a:rPr lang="es-MX" sz="1100">
                    <a:solidFill>
                      <a:srgbClr val="3F5073"/>
                    </a:solidFill>
                    <a:latin typeface="Open Sans SemiBold" panose="020B0706030804020204" pitchFamily="34" charset="0"/>
                    <a:ea typeface="Open Sans SemiBold" panose="020B0706030804020204" pitchFamily="34" charset="0"/>
                    <a:cs typeface="Open Sans SemiBold" panose="020B0706030804020204" pitchFamily="34" charset="0"/>
                  </a:rPr>
                  <a:t> Scripts</a:t>
                </a:r>
              </a:p>
            </p:txBody>
          </p:sp>
          <p:grpSp>
            <p:nvGrpSpPr>
              <p:cNvPr id="1495" name="Group 1494">
                <a:extLst>
                  <a:ext uri="{FF2B5EF4-FFF2-40B4-BE49-F238E27FC236}">
                    <a16:creationId xmlns:a16="http://schemas.microsoft.com/office/drawing/2014/main" id="{FA42880F-D212-6758-A270-5569B0E1BBF7}"/>
                  </a:ext>
                </a:extLst>
              </p:cNvPr>
              <p:cNvGrpSpPr/>
              <p:nvPr/>
            </p:nvGrpSpPr>
            <p:grpSpPr>
              <a:xfrm>
                <a:off x="10031991" y="2478628"/>
                <a:ext cx="546846" cy="715806"/>
                <a:chOff x="10031991" y="2478628"/>
                <a:chExt cx="546846" cy="715806"/>
              </a:xfrm>
            </p:grpSpPr>
            <p:pic>
              <p:nvPicPr>
                <p:cNvPr id="1496" name="Graphic 1495" descr="Clipboard Checked outline">
                  <a:extLst>
                    <a:ext uri="{FF2B5EF4-FFF2-40B4-BE49-F238E27FC236}">
                      <a16:creationId xmlns:a16="http://schemas.microsoft.com/office/drawing/2014/main" id="{B61EC566-F8C8-A430-588D-0577E89C63E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031991" y="2647591"/>
                  <a:ext cx="546846" cy="546843"/>
                </a:xfrm>
                <a:prstGeom prst="rect">
                  <a:avLst/>
                </a:prstGeom>
              </p:spPr>
            </p:pic>
            <p:pic>
              <p:nvPicPr>
                <p:cNvPr id="1497" name="Graphic 1496">
                  <a:extLst>
                    <a:ext uri="{FF2B5EF4-FFF2-40B4-BE49-F238E27FC236}">
                      <a16:creationId xmlns:a16="http://schemas.microsoft.com/office/drawing/2014/main" id="{C0BFF095-E48F-79D5-FEAB-0E475045C231}"/>
                    </a:ext>
                  </a:extLst>
                </p:cNvPr>
                <p:cNvPicPr>
                  <a:picLocks/>
                </p:cNvPicPr>
                <p:nvPr/>
              </p:nvPicPr>
              <p:blipFill>
                <a:blip r:embed="rId29">
                  <a:extLst>
                    <a:ext uri="{96DAC541-7B7A-43D3-8B79-37D633B846F1}">
                      <asvg:svgBlip xmlns:asvg="http://schemas.microsoft.com/office/drawing/2016/SVG/main" r:embed="rId30"/>
                    </a:ext>
                  </a:extLst>
                </a:blip>
                <a:stretch>
                  <a:fillRect/>
                </a:stretch>
              </p:blipFill>
              <p:spPr>
                <a:xfrm>
                  <a:off x="10205545" y="2478628"/>
                  <a:ext cx="196106" cy="196106"/>
                </a:xfrm>
                <a:prstGeom prst="rect">
                  <a:avLst/>
                </a:prstGeom>
              </p:spPr>
            </p:pic>
          </p:grpSp>
        </p:grpSp>
      </p:grpSp>
      <p:grpSp>
        <p:nvGrpSpPr>
          <p:cNvPr id="1511" name="Group 1510">
            <a:extLst>
              <a:ext uri="{FF2B5EF4-FFF2-40B4-BE49-F238E27FC236}">
                <a16:creationId xmlns:a16="http://schemas.microsoft.com/office/drawing/2014/main" id="{C04AC35F-B93B-0EFB-8BDE-845F8A5C97CF}"/>
              </a:ext>
            </a:extLst>
          </p:cNvPr>
          <p:cNvGrpSpPr/>
          <p:nvPr/>
        </p:nvGrpSpPr>
        <p:grpSpPr>
          <a:xfrm>
            <a:off x="4405417" y="897683"/>
            <a:ext cx="1168584" cy="430441"/>
            <a:chOff x="8664385" y="4178056"/>
            <a:chExt cx="1168584" cy="430441"/>
          </a:xfrm>
        </p:grpSpPr>
        <p:sp>
          <p:nvSpPr>
            <p:cNvPr id="1512" name="Rectangle: Rounded Corners 79">
              <a:extLst>
                <a:ext uri="{FF2B5EF4-FFF2-40B4-BE49-F238E27FC236}">
                  <a16:creationId xmlns:a16="http://schemas.microsoft.com/office/drawing/2014/main" id="{F086D695-FADF-AA93-509B-585A5417336D}"/>
                </a:ext>
              </a:extLst>
            </p:cNvPr>
            <p:cNvSpPr/>
            <p:nvPr/>
          </p:nvSpPr>
          <p:spPr bwMode="gray">
            <a:xfrm>
              <a:off x="8836273" y="4389041"/>
              <a:ext cx="996696" cy="219456"/>
            </a:xfrm>
            <a:prstGeom prst="roundRect">
              <a:avLst/>
            </a:prstGeom>
            <a:solidFill>
              <a:schemeClr val="bg1"/>
            </a:solidFill>
            <a:ln w="12700">
              <a:solidFill>
                <a:schemeClr val="accent6">
                  <a:lumMod val="75000"/>
                </a:schemeClr>
              </a:solidFill>
            </a:ln>
          </p:spPr>
          <p:txBody>
            <a:bodyPr wrap="square" rtlCol="0" anchor="ctr">
              <a:noAutofit/>
            </a:bodyPr>
            <a:lstStyle/>
            <a:p>
              <a:pPr algn="ctr" defTabSz="457200"/>
              <a:r>
                <a:rPr lang="en-US" sz="900" b="1">
                  <a:solidFill>
                    <a:srgbClr val="BF2300"/>
                  </a:solidFill>
                  <a:latin typeface="Open Sans" panose="020B0606030504020204" pitchFamily="34" charset="0"/>
                  <a:ea typeface="Open Sans" panose="020B0606030504020204" pitchFamily="34" charset="0"/>
                  <a:cs typeface="Open Sans" panose="020B0606030504020204" pitchFamily="34" charset="0"/>
                </a:rPr>
                <a:t>Critical/High</a:t>
              </a:r>
            </a:p>
          </p:txBody>
        </p:sp>
        <p:sp>
          <p:nvSpPr>
            <p:cNvPr id="1513" name="Oval 1512">
              <a:extLst>
                <a:ext uri="{FF2B5EF4-FFF2-40B4-BE49-F238E27FC236}">
                  <a16:creationId xmlns:a16="http://schemas.microsoft.com/office/drawing/2014/main" id="{2C91E046-D302-D67D-7E24-D8E3D1A6123F}"/>
                </a:ext>
              </a:extLst>
            </p:cNvPr>
            <p:cNvSpPr/>
            <p:nvPr/>
          </p:nvSpPr>
          <p:spPr>
            <a:xfrm>
              <a:off x="8664385" y="4178056"/>
              <a:ext cx="321030" cy="321030"/>
            </a:xfrm>
            <a:prstGeom prst="ellipse">
              <a:avLst/>
            </a:prstGeom>
            <a:solidFill>
              <a:schemeClr val="bg1"/>
            </a:solidFill>
            <a:ln w="12700">
              <a:solidFill>
                <a:srgbClr val="BF23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1514" name="Graphic 1513">
              <a:extLst>
                <a:ext uri="{FF2B5EF4-FFF2-40B4-BE49-F238E27FC236}">
                  <a16:creationId xmlns:a16="http://schemas.microsoft.com/office/drawing/2014/main" id="{1259D2F6-91DF-9862-7A4E-009E8382C89A}"/>
                </a:ext>
              </a:extLst>
            </p:cNvPr>
            <p:cNvPicPr>
              <a:picLocks/>
            </p:cNvPicPr>
            <p:nvPr/>
          </p:nvPicPr>
          <p:blipFill>
            <a:blip r:embed="rId31">
              <a:extLst>
                <a:ext uri="{96DAC541-7B7A-43D3-8B79-37D633B846F1}">
                  <asvg:svgBlip xmlns:asvg="http://schemas.microsoft.com/office/drawing/2016/SVG/main" r:embed="rId32"/>
                </a:ext>
              </a:extLst>
            </a:blip>
            <a:stretch>
              <a:fillRect/>
            </a:stretch>
          </p:blipFill>
          <p:spPr>
            <a:xfrm>
              <a:off x="8695763" y="4190700"/>
              <a:ext cx="258274" cy="258274"/>
            </a:xfrm>
            <a:prstGeom prst="rect">
              <a:avLst/>
            </a:prstGeom>
          </p:spPr>
        </p:pic>
      </p:grpSp>
      <p:cxnSp>
        <p:nvCxnSpPr>
          <p:cNvPr id="1516" name="Connector: Elbow 1515">
            <a:extLst>
              <a:ext uri="{FF2B5EF4-FFF2-40B4-BE49-F238E27FC236}">
                <a16:creationId xmlns:a16="http://schemas.microsoft.com/office/drawing/2014/main" id="{ED1D9886-E60A-5858-7C71-4DB59621B4D6}"/>
              </a:ext>
            </a:extLst>
          </p:cNvPr>
          <p:cNvCxnSpPr>
            <a:cxnSpLocks/>
          </p:cNvCxnSpPr>
          <p:nvPr/>
        </p:nvCxnSpPr>
        <p:spPr>
          <a:xfrm>
            <a:off x="4165943" y="3203229"/>
            <a:ext cx="1784007" cy="1543652"/>
          </a:xfrm>
          <a:prstGeom prst="bentConnector3">
            <a:avLst>
              <a:gd name="adj1" fmla="val 168"/>
            </a:avLst>
          </a:prstGeom>
          <a:ln>
            <a:solidFill>
              <a:srgbClr val="F86F35"/>
            </a:solidFill>
          </a:ln>
        </p:spPr>
        <p:style>
          <a:lnRef idx="2">
            <a:schemeClr val="accent1"/>
          </a:lnRef>
          <a:fillRef idx="0">
            <a:schemeClr val="accent1"/>
          </a:fillRef>
          <a:effectRef idx="1">
            <a:schemeClr val="accent1"/>
          </a:effectRef>
          <a:fontRef idx="minor">
            <a:schemeClr val="tx1"/>
          </a:fontRef>
        </p:style>
      </p:cxnSp>
      <p:cxnSp>
        <p:nvCxnSpPr>
          <p:cNvPr id="1518" name="Connector: Elbow 1517">
            <a:extLst>
              <a:ext uri="{FF2B5EF4-FFF2-40B4-BE49-F238E27FC236}">
                <a16:creationId xmlns:a16="http://schemas.microsoft.com/office/drawing/2014/main" id="{35481958-4DC6-C55B-CFFD-2FE86050F7FB}"/>
              </a:ext>
            </a:extLst>
          </p:cNvPr>
          <p:cNvCxnSpPr>
            <a:cxnSpLocks/>
          </p:cNvCxnSpPr>
          <p:nvPr/>
        </p:nvCxnSpPr>
        <p:spPr>
          <a:xfrm rot="10800000" flipV="1">
            <a:off x="5949950" y="3203229"/>
            <a:ext cx="2008352" cy="1543652"/>
          </a:xfrm>
          <a:prstGeom prst="bentConnector3">
            <a:avLst>
              <a:gd name="adj1" fmla="val 360"/>
            </a:avLst>
          </a:prstGeom>
          <a:ln>
            <a:solidFill>
              <a:srgbClr val="F86F35"/>
            </a:solidFill>
            <a:headEnd type="triangle"/>
            <a:tailEnd type="none" w="lg" len="lg"/>
          </a:ln>
        </p:spPr>
        <p:style>
          <a:lnRef idx="2">
            <a:schemeClr val="accent1"/>
          </a:lnRef>
          <a:fillRef idx="0">
            <a:schemeClr val="accent1"/>
          </a:fillRef>
          <a:effectRef idx="1">
            <a:schemeClr val="accent1"/>
          </a:effectRef>
          <a:fontRef idx="minor">
            <a:schemeClr val="tx1"/>
          </a:fontRef>
        </p:style>
      </p:cxnSp>
      <p:grpSp>
        <p:nvGrpSpPr>
          <p:cNvPr id="1530" name="Group 1529">
            <a:extLst>
              <a:ext uri="{FF2B5EF4-FFF2-40B4-BE49-F238E27FC236}">
                <a16:creationId xmlns:a16="http://schemas.microsoft.com/office/drawing/2014/main" id="{DFE31890-E1AE-3A69-787B-2E395F635B61}"/>
              </a:ext>
            </a:extLst>
          </p:cNvPr>
          <p:cNvGrpSpPr/>
          <p:nvPr/>
        </p:nvGrpSpPr>
        <p:grpSpPr>
          <a:xfrm>
            <a:off x="4758657" y="4614829"/>
            <a:ext cx="2674686" cy="434870"/>
            <a:chOff x="4896306" y="4367050"/>
            <a:chExt cx="2674686" cy="434870"/>
          </a:xfrm>
        </p:grpSpPr>
        <p:grpSp>
          <p:nvGrpSpPr>
            <p:cNvPr id="1521" name="Group 1520">
              <a:extLst>
                <a:ext uri="{FF2B5EF4-FFF2-40B4-BE49-F238E27FC236}">
                  <a16:creationId xmlns:a16="http://schemas.microsoft.com/office/drawing/2014/main" id="{DD43CED2-3CB9-7EDC-A704-90FEB34AF2B1}"/>
                </a:ext>
              </a:extLst>
            </p:cNvPr>
            <p:cNvGrpSpPr/>
            <p:nvPr/>
          </p:nvGrpSpPr>
          <p:grpSpPr>
            <a:xfrm>
              <a:off x="6428366" y="4367050"/>
              <a:ext cx="1142626" cy="426985"/>
              <a:chOff x="9459752" y="3637865"/>
              <a:chExt cx="1142626" cy="426985"/>
            </a:xfrm>
          </p:grpSpPr>
          <p:sp>
            <p:nvSpPr>
              <p:cNvPr id="1522" name="Rectangle: Rounded Corners 79">
                <a:extLst>
                  <a:ext uri="{FF2B5EF4-FFF2-40B4-BE49-F238E27FC236}">
                    <a16:creationId xmlns:a16="http://schemas.microsoft.com/office/drawing/2014/main" id="{35A19707-D12C-C0ED-ADA9-34F0C4016F28}"/>
                  </a:ext>
                </a:extLst>
              </p:cNvPr>
              <p:cNvSpPr/>
              <p:nvPr/>
            </p:nvSpPr>
            <p:spPr bwMode="gray">
              <a:xfrm>
                <a:off x="9630378" y="3848850"/>
                <a:ext cx="972000" cy="216000"/>
              </a:xfrm>
              <a:prstGeom prst="roundRect">
                <a:avLst/>
              </a:prstGeom>
              <a:solidFill>
                <a:schemeClr val="bg1"/>
              </a:solidFill>
              <a:ln w="12700">
                <a:solidFill>
                  <a:srgbClr val="FFC000"/>
                </a:solidFill>
              </a:ln>
            </p:spPr>
            <p:txBody>
              <a:bodyPr wrap="square" rtlCol="0" anchor="ctr">
                <a:noAutofit/>
              </a:bodyPr>
              <a:lstStyle/>
              <a:p>
                <a:pPr algn="ctr" defTabSz="457200"/>
                <a:r>
                  <a:rPr lang="es-MX" sz="900" b="1">
                    <a:solidFill>
                      <a:srgbClr val="FFC000"/>
                    </a:solidFill>
                    <a:latin typeface="Open Sans" panose="020B0606030504020204" pitchFamily="34" charset="0"/>
                    <a:ea typeface="Open Sans" panose="020B0606030504020204" pitchFamily="34" charset="0"/>
                    <a:cs typeface="Open Sans" panose="020B0606030504020204" pitchFamily="34" charset="0"/>
                  </a:rPr>
                  <a:t>Medium</a:t>
                </a:r>
              </a:p>
            </p:txBody>
          </p:sp>
          <p:sp>
            <p:nvSpPr>
              <p:cNvPr id="1523" name="Oval 1522">
                <a:extLst>
                  <a:ext uri="{FF2B5EF4-FFF2-40B4-BE49-F238E27FC236}">
                    <a16:creationId xmlns:a16="http://schemas.microsoft.com/office/drawing/2014/main" id="{34B83B7A-69D2-8E2D-C4B6-ABA7377C0FE2}"/>
                  </a:ext>
                </a:extLst>
              </p:cNvPr>
              <p:cNvSpPr/>
              <p:nvPr/>
            </p:nvSpPr>
            <p:spPr>
              <a:xfrm>
                <a:off x="9459752" y="3637865"/>
                <a:ext cx="321030" cy="321030"/>
              </a:xfrm>
              <a:prstGeom prst="ellipse">
                <a:avLst/>
              </a:prstGeom>
              <a:solidFill>
                <a:schemeClr val="bg1"/>
              </a:solidFill>
              <a:ln w="127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1524" name="Graphic 1523">
                <a:extLst>
                  <a:ext uri="{FF2B5EF4-FFF2-40B4-BE49-F238E27FC236}">
                    <a16:creationId xmlns:a16="http://schemas.microsoft.com/office/drawing/2014/main" id="{DBD8886E-FFE9-F659-9D81-4854A0F6D755}"/>
                  </a:ext>
                </a:extLst>
              </p:cNvPr>
              <p:cNvPicPr>
                <a:picLocks/>
              </p:cNvPicPr>
              <p:nvPr/>
            </p:nvPicPr>
            <p:blipFill>
              <a:blip r:embed="rId33">
                <a:extLst>
                  <a:ext uri="{96DAC541-7B7A-43D3-8B79-37D633B846F1}">
                    <asvg:svgBlip xmlns:asvg="http://schemas.microsoft.com/office/drawing/2016/SVG/main" r:embed="rId34"/>
                  </a:ext>
                </a:extLst>
              </a:blip>
              <a:stretch>
                <a:fillRect/>
              </a:stretch>
            </p:blipFill>
            <p:spPr>
              <a:xfrm>
                <a:off x="9491130" y="3650509"/>
                <a:ext cx="258274" cy="258274"/>
              </a:xfrm>
              <a:prstGeom prst="rect">
                <a:avLst/>
              </a:prstGeom>
            </p:spPr>
          </p:pic>
        </p:grpSp>
        <p:grpSp>
          <p:nvGrpSpPr>
            <p:cNvPr id="1525" name="Group 1524">
              <a:extLst>
                <a:ext uri="{FF2B5EF4-FFF2-40B4-BE49-F238E27FC236}">
                  <a16:creationId xmlns:a16="http://schemas.microsoft.com/office/drawing/2014/main" id="{4682C595-6228-6717-4D15-5D87E90E8433}"/>
                </a:ext>
              </a:extLst>
            </p:cNvPr>
            <p:cNvGrpSpPr/>
            <p:nvPr/>
          </p:nvGrpSpPr>
          <p:grpSpPr>
            <a:xfrm>
              <a:off x="4896306" y="4374935"/>
              <a:ext cx="1142626" cy="426985"/>
              <a:chOff x="7517200" y="4855421"/>
              <a:chExt cx="1142626" cy="426985"/>
            </a:xfrm>
          </p:grpSpPr>
          <p:sp>
            <p:nvSpPr>
              <p:cNvPr id="1526" name="Rectangle: Rounded Corners 79">
                <a:extLst>
                  <a:ext uri="{FF2B5EF4-FFF2-40B4-BE49-F238E27FC236}">
                    <a16:creationId xmlns:a16="http://schemas.microsoft.com/office/drawing/2014/main" id="{5E097204-9F94-5CC7-B9A9-A08118BF5F4D}"/>
                  </a:ext>
                </a:extLst>
              </p:cNvPr>
              <p:cNvSpPr/>
              <p:nvPr/>
            </p:nvSpPr>
            <p:spPr bwMode="gray">
              <a:xfrm>
                <a:off x="7687826" y="5066406"/>
                <a:ext cx="972000" cy="216000"/>
              </a:xfrm>
              <a:prstGeom prst="roundRect">
                <a:avLst/>
              </a:prstGeom>
              <a:solidFill>
                <a:schemeClr val="bg1"/>
              </a:solidFill>
              <a:ln w="12700">
                <a:solidFill>
                  <a:schemeClr val="accent5"/>
                </a:solidFill>
              </a:ln>
            </p:spPr>
            <p:txBody>
              <a:bodyPr wrap="square" rtlCol="0" anchor="ctr">
                <a:noAutofit/>
              </a:bodyPr>
              <a:lstStyle/>
              <a:p>
                <a:pPr algn="ctr" defTabSz="457200"/>
                <a:r>
                  <a:rPr lang="es-MX" sz="900" b="1">
                    <a:solidFill>
                      <a:srgbClr val="3B43FB"/>
                    </a:solidFill>
                    <a:latin typeface="Open Sans" panose="020B0606030504020204" pitchFamily="34" charset="0"/>
                    <a:ea typeface="Open Sans" panose="020B0606030504020204" pitchFamily="34" charset="0"/>
                    <a:cs typeface="Open Sans" panose="020B0606030504020204" pitchFamily="34" charset="0"/>
                  </a:rPr>
                  <a:t>Low</a:t>
                </a:r>
              </a:p>
            </p:txBody>
          </p:sp>
          <p:sp>
            <p:nvSpPr>
              <p:cNvPr id="1527" name="Oval 1526">
                <a:extLst>
                  <a:ext uri="{FF2B5EF4-FFF2-40B4-BE49-F238E27FC236}">
                    <a16:creationId xmlns:a16="http://schemas.microsoft.com/office/drawing/2014/main" id="{AFB24593-A392-58C6-8348-88CB8E277484}"/>
                  </a:ext>
                </a:extLst>
              </p:cNvPr>
              <p:cNvSpPr/>
              <p:nvPr/>
            </p:nvSpPr>
            <p:spPr>
              <a:xfrm>
                <a:off x="7517200" y="4855421"/>
                <a:ext cx="321030" cy="321030"/>
              </a:xfrm>
              <a:prstGeom prst="ellipse">
                <a:avLst/>
              </a:prstGeom>
              <a:solidFill>
                <a:schemeClr val="bg1"/>
              </a:solidFill>
              <a:ln w="12700">
                <a:solidFill>
                  <a:srgbClr val="3B43F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1528" name="Graphic 1527">
                <a:extLst>
                  <a:ext uri="{FF2B5EF4-FFF2-40B4-BE49-F238E27FC236}">
                    <a16:creationId xmlns:a16="http://schemas.microsoft.com/office/drawing/2014/main" id="{8C5481AA-F8F0-5127-DC8E-9A5554A362A6}"/>
                  </a:ext>
                </a:extLst>
              </p:cNvPr>
              <p:cNvPicPr>
                <a:picLocks/>
              </p:cNvPicPr>
              <p:nvPr/>
            </p:nvPicPr>
            <p:blipFill>
              <a:blip r:embed="rId35">
                <a:extLst>
                  <a:ext uri="{96DAC541-7B7A-43D3-8B79-37D633B846F1}">
                    <asvg:svgBlip xmlns:asvg="http://schemas.microsoft.com/office/drawing/2016/SVG/main" r:embed="rId36"/>
                  </a:ext>
                </a:extLst>
              </a:blip>
              <a:stretch>
                <a:fillRect/>
              </a:stretch>
            </p:blipFill>
            <p:spPr>
              <a:xfrm>
                <a:off x="7548578" y="4868065"/>
                <a:ext cx="258274" cy="258274"/>
              </a:xfrm>
              <a:prstGeom prst="rect">
                <a:avLst/>
              </a:prstGeom>
            </p:spPr>
          </p:pic>
        </p:grpSp>
      </p:grpSp>
      <p:pic>
        <p:nvPicPr>
          <p:cNvPr id="26" name="Imagen 25" descr="Forma&#10;&#10;El contenido generado por IA puede ser incorrecto.">
            <a:extLst>
              <a:ext uri="{FF2B5EF4-FFF2-40B4-BE49-F238E27FC236}">
                <a16:creationId xmlns:a16="http://schemas.microsoft.com/office/drawing/2014/main" id="{90F2494B-3BBB-5B24-83CD-262D9EA1322A}"/>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2439220" y="5726039"/>
            <a:ext cx="206364" cy="364512"/>
          </a:xfrm>
          <a:prstGeom prst="rect">
            <a:avLst/>
          </a:prstGeom>
        </p:spPr>
      </p:pic>
      <p:pic>
        <p:nvPicPr>
          <p:cNvPr id="30" name="Imagen 29" descr="Forma&#10;&#10;El contenido generado por IA puede ser incorrecto.">
            <a:extLst>
              <a:ext uri="{FF2B5EF4-FFF2-40B4-BE49-F238E27FC236}">
                <a16:creationId xmlns:a16="http://schemas.microsoft.com/office/drawing/2014/main" id="{E6EDC3B5-6010-03A6-20C7-5D028F2F9102}"/>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5589089" y="1930121"/>
            <a:ext cx="112403" cy="198544"/>
          </a:xfrm>
          <a:prstGeom prst="rect">
            <a:avLst/>
          </a:prstGeom>
        </p:spPr>
      </p:pic>
      <p:pic>
        <p:nvPicPr>
          <p:cNvPr id="31" name="Imagen 30" descr="Forma&#10;&#10;El contenido generado por IA puede ser incorrecto.">
            <a:extLst>
              <a:ext uri="{FF2B5EF4-FFF2-40B4-BE49-F238E27FC236}">
                <a16:creationId xmlns:a16="http://schemas.microsoft.com/office/drawing/2014/main" id="{D993ABD9-20D1-BBD9-0EDD-850FC553AA56}"/>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6535160" y="1925108"/>
            <a:ext cx="112403" cy="198544"/>
          </a:xfrm>
          <a:prstGeom prst="rect">
            <a:avLst/>
          </a:prstGeom>
        </p:spPr>
      </p:pic>
      <p:pic>
        <p:nvPicPr>
          <p:cNvPr id="33" name="Imagen 32" descr="Dibujo en fondo negro&#10;&#10;El contenido generado por IA puede ser incorrecto.">
            <a:extLst>
              <a:ext uri="{FF2B5EF4-FFF2-40B4-BE49-F238E27FC236}">
                <a16:creationId xmlns:a16="http://schemas.microsoft.com/office/drawing/2014/main" id="{B85E87D0-A88A-D440-6E8D-5937932E1844}"/>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3090429" y="2516225"/>
            <a:ext cx="165358" cy="292081"/>
          </a:xfrm>
          <a:prstGeom prst="rect">
            <a:avLst/>
          </a:prstGeom>
        </p:spPr>
      </p:pic>
      <p:pic>
        <p:nvPicPr>
          <p:cNvPr id="34" name="Imagen 33" descr="Dibujo en fondo negro&#10;&#10;El contenido generado por IA puede ser incorrecto.">
            <a:extLst>
              <a:ext uri="{FF2B5EF4-FFF2-40B4-BE49-F238E27FC236}">
                <a16:creationId xmlns:a16="http://schemas.microsoft.com/office/drawing/2014/main" id="{8B360F0A-E5A5-316D-4461-9389B6376C77}"/>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4050239" y="2516225"/>
            <a:ext cx="165358" cy="292081"/>
          </a:xfrm>
          <a:prstGeom prst="rect">
            <a:avLst/>
          </a:prstGeom>
        </p:spPr>
      </p:pic>
      <p:pic>
        <p:nvPicPr>
          <p:cNvPr id="35" name="Imagen 34" descr="Dibujo en fondo negro&#10;&#10;El contenido generado por IA puede ser incorrecto.">
            <a:extLst>
              <a:ext uri="{FF2B5EF4-FFF2-40B4-BE49-F238E27FC236}">
                <a16:creationId xmlns:a16="http://schemas.microsoft.com/office/drawing/2014/main" id="{2A6DF44E-8D08-77E5-0811-A3C2CA251848}"/>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948342" y="2514978"/>
            <a:ext cx="165358" cy="292081"/>
          </a:xfrm>
          <a:prstGeom prst="rect">
            <a:avLst/>
          </a:prstGeom>
        </p:spPr>
      </p:pic>
      <p:pic>
        <p:nvPicPr>
          <p:cNvPr id="36" name="Imagen 35" descr="Dibujo en fondo negro&#10;&#10;El contenido generado por IA puede ser incorrecto.">
            <a:extLst>
              <a:ext uri="{FF2B5EF4-FFF2-40B4-BE49-F238E27FC236}">
                <a16:creationId xmlns:a16="http://schemas.microsoft.com/office/drawing/2014/main" id="{57694C64-7296-1EDD-F809-56F1E4518366}"/>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8810794" y="2521162"/>
            <a:ext cx="165358" cy="292081"/>
          </a:xfrm>
          <a:prstGeom prst="rect">
            <a:avLst/>
          </a:prstGeom>
        </p:spPr>
      </p:pic>
      <p:pic>
        <p:nvPicPr>
          <p:cNvPr id="37" name="Imagen 36" descr="Dibujo en fondo negro&#10;&#10;El contenido generado por IA puede ser incorrecto.">
            <a:extLst>
              <a:ext uri="{FF2B5EF4-FFF2-40B4-BE49-F238E27FC236}">
                <a16:creationId xmlns:a16="http://schemas.microsoft.com/office/drawing/2014/main" id="{6EA65A8B-8387-1E88-D27C-72CFECC01C5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9762083" y="2514978"/>
            <a:ext cx="165358" cy="292081"/>
          </a:xfrm>
          <a:prstGeom prst="rect">
            <a:avLst/>
          </a:prstGeom>
        </p:spPr>
      </p:pic>
      <p:pic>
        <p:nvPicPr>
          <p:cNvPr id="39" name="Imagen 38" descr="Dibujo en fondo negro&#10;&#10;El contenido generado por IA puede ser incorrecto.">
            <a:extLst>
              <a:ext uri="{FF2B5EF4-FFF2-40B4-BE49-F238E27FC236}">
                <a16:creationId xmlns:a16="http://schemas.microsoft.com/office/drawing/2014/main" id="{DB3E5609-70D2-45D1-46CE-5B3981F932C4}"/>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830145" y="2509343"/>
            <a:ext cx="165358" cy="292081"/>
          </a:xfrm>
          <a:prstGeom prst="rect">
            <a:avLst/>
          </a:prstGeom>
        </p:spPr>
      </p:pic>
      <p:pic>
        <p:nvPicPr>
          <p:cNvPr id="40" name="Imagen 39" descr="Dibujo en fondo negro&#10;&#10;El contenido generado por IA puede ser incorrecto.">
            <a:extLst>
              <a:ext uri="{FF2B5EF4-FFF2-40B4-BE49-F238E27FC236}">
                <a16:creationId xmlns:a16="http://schemas.microsoft.com/office/drawing/2014/main" id="{9F6E1778-8B43-55F3-E996-3D1469BE8C1F}"/>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242753" y="2516225"/>
            <a:ext cx="165358" cy="292081"/>
          </a:xfrm>
          <a:prstGeom prst="rect">
            <a:avLst/>
          </a:prstGeom>
        </p:spPr>
      </p:pic>
      <p:pic>
        <p:nvPicPr>
          <p:cNvPr id="41" name="Imagen 40" descr="Imagen que contiene Icono&#10;&#10;El contenido generado por IA puede ser incorrecto.">
            <a:extLst>
              <a:ext uri="{FF2B5EF4-FFF2-40B4-BE49-F238E27FC236}">
                <a16:creationId xmlns:a16="http://schemas.microsoft.com/office/drawing/2014/main" id="{A27CA076-1625-F987-6A6F-AA2472069D0A}"/>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360450" y="2350697"/>
            <a:ext cx="548213" cy="548213"/>
          </a:xfrm>
          <a:prstGeom prst="rect">
            <a:avLst/>
          </a:prstGeom>
        </p:spPr>
      </p:pic>
      <p:pic>
        <p:nvPicPr>
          <p:cNvPr id="42" name="Imagen 41" descr="Imagen que contiene Icono&#10;&#10;El contenido generado por IA puede ser incorrecto.">
            <a:extLst>
              <a:ext uri="{FF2B5EF4-FFF2-40B4-BE49-F238E27FC236}">
                <a16:creationId xmlns:a16="http://schemas.microsoft.com/office/drawing/2014/main" id="{59493170-65A4-60D0-DC7C-5E690D664987}"/>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9088921" y="2341575"/>
            <a:ext cx="548213" cy="548213"/>
          </a:xfrm>
          <a:prstGeom prst="rect">
            <a:avLst/>
          </a:prstGeom>
        </p:spPr>
      </p:pic>
      <p:pic>
        <p:nvPicPr>
          <p:cNvPr id="43" name="Imagen 42" descr="Imagen que contiene Icono&#10;&#10;El contenido generado por IA puede ser incorrecto.">
            <a:extLst>
              <a:ext uri="{FF2B5EF4-FFF2-40B4-BE49-F238E27FC236}">
                <a16:creationId xmlns:a16="http://schemas.microsoft.com/office/drawing/2014/main" id="{BD539071-74A3-CD7D-4EEC-EFF47DE8C113}"/>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1221381" y="5534959"/>
            <a:ext cx="746671" cy="746671"/>
          </a:xfrm>
          <a:prstGeom prst="rect">
            <a:avLst/>
          </a:prstGeom>
        </p:spPr>
      </p:pic>
      <p:sp>
        <p:nvSpPr>
          <p:cNvPr id="1519" name="CuadroTexto 4">
            <a:extLst>
              <a:ext uri="{FF2B5EF4-FFF2-40B4-BE49-F238E27FC236}">
                <a16:creationId xmlns:a16="http://schemas.microsoft.com/office/drawing/2014/main" id="{1954E793-0BDD-95B3-09A1-51F59619E705}"/>
              </a:ext>
            </a:extLst>
          </p:cNvPr>
          <p:cNvSpPr txBox="1"/>
          <p:nvPr/>
        </p:nvSpPr>
        <p:spPr>
          <a:xfrm>
            <a:off x="7978353" y="3951365"/>
            <a:ext cx="2395643" cy="830997"/>
          </a:xfrm>
          <a:prstGeom prst="rect">
            <a:avLst/>
          </a:prstGeom>
          <a:noFill/>
        </p:spPr>
        <p:txBody>
          <a:bodyPr wrap="square" rtlCol="0">
            <a:spAutoFit/>
          </a:bodyPr>
          <a:lstStyle/>
          <a:p>
            <a:r>
              <a:rPr lang="en-US" sz="1200" b="1">
                <a:effectLst/>
                <a:latin typeface="-apple-system"/>
              </a:rPr>
              <a:t>Large/Complex scenarios: </a:t>
            </a:r>
          </a:p>
          <a:p>
            <a:pPr>
              <a:buFont typeface="+mj-lt"/>
              <a:buAutoNum type="arabicPeriod"/>
            </a:pPr>
            <a:r>
              <a:rPr lang="en-US" sz="1200" b="1">
                <a:effectLst/>
                <a:latin typeface="-apple-system"/>
              </a:rPr>
              <a:t>Single epic</a:t>
            </a:r>
          </a:p>
          <a:p>
            <a:pPr>
              <a:buFont typeface="+mj-lt"/>
              <a:buAutoNum type="arabicPeriod"/>
            </a:pPr>
            <a:r>
              <a:rPr lang="en-US" sz="1200" b="1">
                <a:effectLst/>
                <a:latin typeface="-apple-system"/>
              </a:rPr>
              <a:t>Parallelism within same sprint</a:t>
            </a:r>
          </a:p>
          <a:p>
            <a:pPr>
              <a:buFont typeface="+mj-lt"/>
              <a:buAutoNum type="arabicPeriod"/>
            </a:pPr>
            <a:r>
              <a:rPr lang="en-US" sz="1200" b="1">
                <a:effectLst/>
                <a:latin typeface="-apple-system"/>
              </a:rPr>
              <a:t>Multiple sprints </a:t>
            </a:r>
            <a:endParaRPr lang="es-MX" sz="1200" b="1">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8569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R.RqRT9Q94M.Moo5IFZ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R.RqRT9Q94M.Moo5IFZ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ustom 1">
      <a:dk1>
        <a:srgbClr val="3F5073"/>
      </a:dk1>
      <a:lt1>
        <a:sysClr val="window" lastClr="FFFFFF"/>
      </a:lt1>
      <a:dk2>
        <a:srgbClr val="3F5073"/>
      </a:dk2>
      <a:lt2>
        <a:srgbClr val="E7E6E6"/>
      </a:lt2>
      <a:accent1>
        <a:srgbClr val="1B2032"/>
      </a:accent1>
      <a:accent2>
        <a:srgbClr val="FF8367"/>
      </a:accent2>
      <a:accent3>
        <a:srgbClr val="0D1284"/>
      </a:accent3>
      <a:accent4>
        <a:srgbClr val="3F46AD"/>
      </a:accent4>
      <a:accent5>
        <a:srgbClr val="3B43FB"/>
      </a:accent5>
      <a:accent6>
        <a:srgbClr val="FF2E00"/>
      </a:accent6>
      <a:hlink>
        <a:srgbClr val="FF2E00"/>
      </a:hlink>
      <a:folHlink>
        <a:srgbClr val="3F46AD"/>
      </a:folHlink>
    </a:clrScheme>
    <a:fontScheme name="Offic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6232E52-4649-4000-B2F0-C49BBFD7D37D}">
  <we:reference id="wa104381063" version="1.0.0.1" store="es-ES" storeType="OMEX"/>
  <we:alternateReferences>
    <we:reference id="WA104381063" version="1.0.0.1" store="es-E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8FDE56F4B596B40956A408E18BCD26E" ma:contentTypeVersion="20" ma:contentTypeDescription="Create a new document." ma:contentTypeScope="" ma:versionID="28c9fc20e40834d5098940c092501d08">
  <xsd:schema xmlns:xsd="http://www.w3.org/2001/XMLSchema" xmlns:xs="http://www.w3.org/2001/XMLSchema" xmlns:p="http://schemas.microsoft.com/office/2006/metadata/properties" xmlns:ns2="af15ff81-9b19-446b-a28b-50fe1c684d54" xmlns:ns3="6dd5dfe5-d80a-44d6-a397-a43a29767f2c" targetNamespace="http://schemas.microsoft.com/office/2006/metadata/properties" ma:root="true" ma:fieldsID="8c0e48196e21b9df17d9f0bb041c0bbb" ns2:_="" ns3:_="">
    <xsd:import namespace="af15ff81-9b19-446b-a28b-50fe1c684d54"/>
    <xsd:import namespace="6dd5dfe5-d80a-44d6-a397-a43a29767f2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Area" minOccurs="0"/>
                <xsd:element ref="ns3:TaxKeywordTaxHTField" minOccurs="0"/>
                <xsd:element ref="ns3:TaxCatchAll" minOccurs="0"/>
                <xsd:element ref="ns2:lcf76f155ced4ddcb4097134ff3c332f" minOccurs="0"/>
                <xsd:element ref="ns2:MediaServiceObjectDetectorVersions" minOccurs="0"/>
                <xsd:element ref="ns2:MediaServiceSearchPropertie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15ff81-9b19-446b-a28b-50fe1c684d5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Area" ma:index="18" nillable="true" ma:displayName="Area" ma:format="Dropdown" ma:internalName="Area">
      <xsd:simpleType>
        <xsd:restriction base="dms:Choice">
          <xsd:enumeration value="IT"/>
          <xsd:enumeration value="RH"/>
          <xsd:enumeration value="Consulting"/>
          <xsd:enumeration value="Finanzas"/>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78f5f2e6-876d-4e57-a62b-3713078b17e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ateTaken" ma:index="26" nillable="true" ma:displayName="MediaServiceDateTaken" ma:hidden="true" ma:indexed="true" ma:internalName="MediaServiceDateTake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d5dfe5-d80a-44d6-a397-a43a29767f2c"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TaxKeywordTaxHTField" ma:index="20" nillable="true" ma:taxonomy="true" ma:internalName="TaxKeywordTaxHTField" ma:taxonomyFieldName="TaxKeyword" ma:displayName="Enterprise Keywords" ma:fieldId="{23f27201-bee3-471e-b2e7-b64fd8b7ca38}" ma:taxonomyMulti="true" ma:sspId="78f5f2e6-876d-4e57-a62b-3713078b17e6" ma:termSetId="00000000-0000-0000-0000-000000000000" ma:anchorId="00000000-0000-0000-0000-000000000000" ma:open="true" ma:isKeyword="true">
      <xsd:complexType>
        <xsd:sequence>
          <xsd:element ref="pc:Terms" minOccurs="0" maxOccurs="1"/>
        </xsd:sequence>
      </xsd:complexType>
    </xsd:element>
    <xsd:element name="TaxCatchAll" ma:index="21" nillable="true" ma:displayName="Taxonomy Catch All Column" ma:hidden="true" ma:list="{e34d1fee-eba4-4349-b94a-8acd6b7d11c1}" ma:internalName="TaxCatchAll" ma:showField="CatchAllData" ma:web="6dd5dfe5-d80a-44d6-a397-a43a29767f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dd5dfe5-d80a-44d6-a397-a43a29767f2c" xsi:nil="true"/>
    <Area xmlns="af15ff81-9b19-446b-a28b-50fe1c684d54" xsi:nil="true"/>
    <TaxKeywordTaxHTField xmlns="6dd5dfe5-d80a-44d6-a397-a43a29767f2c">
      <Terms xmlns="http://schemas.microsoft.com/office/infopath/2007/PartnerControls"/>
    </TaxKeywordTaxHTField>
    <lcf76f155ced4ddcb4097134ff3c332f xmlns="af15ff81-9b19-446b-a28b-50fe1c684d5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D2AADFB-6535-4D22-B304-852BEFDB3A8E}">
  <ds:schemaRefs>
    <ds:schemaRef ds:uri="http://schemas.microsoft.com/sharepoint/v3/contenttype/forms"/>
  </ds:schemaRefs>
</ds:datastoreItem>
</file>

<file path=customXml/itemProps2.xml><?xml version="1.0" encoding="utf-8"?>
<ds:datastoreItem xmlns:ds="http://schemas.openxmlformats.org/officeDocument/2006/customXml" ds:itemID="{D1C1EF91-EACE-40A1-A9E7-995F53676BB5}">
  <ds:schemaRefs>
    <ds:schemaRef ds:uri="6dd5dfe5-d80a-44d6-a397-a43a29767f2c"/>
    <ds:schemaRef ds:uri="af15ff81-9b19-446b-a28b-50fe1c684d5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31B26C6-FB83-4F10-875D-65FBD51D4B79}">
  <ds:schemaRefs>
    <ds:schemaRef ds:uri="6dd5dfe5-d80a-44d6-a397-a43a29767f2c"/>
    <ds:schemaRef ds:uri="af15ff81-9b19-446b-a28b-50fe1c684d5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cfc72992-c0ec-42b6-8bb9-7e145b45f030}" enabled="0" method="" siteId="{cfc72992-c0ec-42b6-8bb9-7e145b45f030}"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Panorámica</PresentationFormat>
  <Slides>15</Slides>
  <Notes>12</Notes>
  <HiddenSlides>0</HiddenSlides>
  <ScaleCrop>false</ScaleCrop>
  <HeadingPairs>
    <vt:vector size="4" baseType="variant">
      <vt:variant>
        <vt:lpstr>Tema</vt:lpstr>
      </vt:variant>
      <vt:variant>
        <vt:i4>1</vt:i4>
      </vt:variant>
      <vt:variant>
        <vt:lpstr>Títulos de diapositiva</vt:lpstr>
      </vt:variant>
      <vt:variant>
        <vt:i4>15</vt:i4>
      </vt:variant>
    </vt:vector>
  </HeadingPairs>
  <TitlesOfParts>
    <vt:vector size="16" baseType="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Oscar C. Albor</dc:creator>
  <cp:revision>11</cp:revision>
  <dcterms:created xsi:type="dcterms:W3CDTF">2024-04-02T21:10:54Z</dcterms:created>
  <dcterms:modified xsi:type="dcterms:W3CDTF">2025-03-13T22:0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FDE56F4B596B40956A408E18BCD26E</vt:lpwstr>
  </property>
  <property fmtid="{D5CDD505-2E9C-101B-9397-08002B2CF9AE}" pid="3" name="MediaServiceImageTags">
    <vt:lpwstr/>
  </property>
  <property fmtid="{D5CDD505-2E9C-101B-9397-08002B2CF9AE}" pid="4" name="TaxKeyword">
    <vt:lpwstr/>
  </property>
</Properties>
</file>